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305" r:id="rId2"/>
    <p:sldId id="256" r:id="rId3"/>
    <p:sldId id="258" r:id="rId4"/>
    <p:sldId id="323" r:id="rId5"/>
    <p:sldId id="324" r:id="rId6"/>
    <p:sldId id="259" r:id="rId7"/>
    <p:sldId id="309" r:id="rId8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기본 구역" id="{0869BE2B-8801-4362-8C0B-529ECE9C0F12}">
          <p14:sldIdLst>
            <p14:sldId id="305"/>
          </p14:sldIdLst>
        </p14:section>
        <p14:section name="Fridge Freezer" id="{0A28EA42-EF96-478F-A049-F3B67640CA75}">
          <p14:sldIdLst>
            <p14:sldId id="256"/>
            <p14:sldId id="258"/>
            <p14:sldId id="323"/>
            <p14:sldId id="324"/>
            <p14:sldId id="259"/>
            <p14:sldId id="30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4" pos="7582" userDrawn="1">
          <p15:clr>
            <a:srgbClr val="A4A3A4"/>
          </p15:clr>
        </p15:guide>
        <p15:guide id="5" orient="horz" pos="482" userDrawn="1">
          <p15:clr>
            <a:srgbClr val="A4A3A4"/>
          </p15:clr>
        </p15:guide>
        <p15:guide id="6" pos="75" userDrawn="1">
          <p15:clr>
            <a:srgbClr val="A4A3A4"/>
          </p15:clr>
        </p15:guide>
        <p15:guide id="7" pos="3046" userDrawn="1">
          <p15:clr>
            <a:srgbClr val="A4A3A4"/>
          </p15:clr>
        </p15:guide>
        <p15:guide id="8" pos="234" userDrawn="1">
          <p15:clr>
            <a:srgbClr val="A4A3A4"/>
          </p15:clr>
        </p15:guide>
        <p15:guide id="9" pos="533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279" autoAdjust="0"/>
    <p:restoredTop sz="94660"/>
  </p:normalViewPr>
  <p:slideViewPr>
    <p:cSldViewPr snapToGrid="0">
      <p:cViewPr varScale="1">
        <p:scale>
          <a:sx n="83" d="100"/>
          <a:sy n="83" d="100"/>
        </p:scale>
        <p:origin x="96" y="672"/>
      </p:cViewPr>
      <p:guideLst>
        <p:guide orient="horz" pos="2137"/>
        <p:guide pos="7582"/>
        <p:guide orient="horz" pos="482"/>
        <p:guide pos="75"/>
        <p:guide pos="3046"/>
        <p:guide pos="234"/>
        <p:guide pos="533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유세희(Sammy)" userId="c309e5cc-64ff-444f-8b61-2a552b0828c7" providerId="ADAL" clId="{30CB131B-2057-4224-994D-64ED7368E44E}"/>
    <pc:docChg chg="undo custSel addSld delSld modSld delSection modSection">
      <pc:chgData name="유세희(Sammy)" userId="c309e5cc-64ff-444f-8b61-2a552b0828c7" providerId="ADAL" clId="{30CB131B-2057-4224-994D-64ED7368E44E}" dt="2022-11-01T11:42:34.061" v="930" actId="1362"/>
      <pc:docMkLst>
        <pc:docMk/>
      </pc:docMkLst>
      <pc:sldChg chg="del">
        <pc:chgData name="유세희(Sammy)" userId="c309e5cc-64ff-444f-8b61-2a552b0828c7" providerId="ADAL" clId="{30CB131B-2057-4224-994D-64ED7368E44E}" dt="2022-11-01T11:39:58.279" v="929" actId="47"/>
        <pc:sldMkLst>
          <pc:docMk/>
          <pc:sldMk cId="427248081" sldId="257"/>
        </pc:sldMkLst>
      </pc:sldChg>
      <pc:sldChg chg="addSp delSp modSp mod">
        <pc:chgData name="유세희(Sammy)" userId="c309e5cc-64ff-444f-8b61-2a552b0828c7" providerId="ADAL" clId="{30CB131B-2057-4224-994D-64ED7368E44E}" dt="2022-11-01T10:19:35.347" v="148" actId="1076"/>
        <pc:sldMkLst>
          <pc:docMk/>
          <pc:sldMk cId="2633088925" sldId="258"/>
        </pc:sldMkLst>
        <pc:spChg chg="del">
          <ac:chgData name="유세희(Sammy)" userId="c309e5cc-64ff-444f-8b61-2a552b0828c7" providerId="ADAL" clId="{30CB131B-2057-4224-994D-64ED7368E44E}" dt="2022-11-01T10:15:32.608" v="1" actId="478"/>
          <ac:spMkLst>
            <pc:docMk/>
            <pc:sldMk cId="2633088925" sldId="258"/>
            <ac:spMk id="4" creationId="{1A959D79-14CE-5CC9-D833-D772605570B8}"/>
          </ac:spMkLst>
        </pc:spChg>
        <pc:spChg chg="del">
          <ac:chgData name="유세희(Sammy)" userId="c309e5cc-64ff-444f-8b61-2a552b0828c7" providerId="ADAL" clId="{30CB131B-2057-4224-994D-64ED7368E44E}" dt="2022-11-01T10:15:32.608" v="1" actId="478"/>
          <ac:spMkLst>
            <pc:docMk/>
            <pc:sldMk cId="2633088925" sldId="258"/>
            <ac:spMk id="6" creationId="{A7F2EE0A-4C23-7B28-FDED-A69C630A649D}"/>
          </ac:spMkLst>
        </pc:spChg>
        <pc:spChg chg="mod">
          <ac:chgData name="유세희(Sammy)" userId="c309e5cc-64ff-444f-8b61-2a552b0828c7" providerId="ADAL" clId="{30CB131B-2057-4224-994D-64ED7368E44E}" dt="2022-11-01T10:15:37.068" v="2" actId="1076"/>
          <ac:spMkLst>
            <pc:docMk/>
            <pc:sldMk cId="2633088925" sldId="258"/>
            <ac:spMk id="9" creationId="{BB915451-E8ED-C459-FE76-3312A0C72C27}"/>
          </ac:spMkLst>
        </pc:spChg>
        <pc:spChg chg="del">
          <ac:chgData name="유세희(Sammy)" userId="c309e5cc-64ff-444f-8b61-2a552b0828c7" providerId="ADAL" clId="{30CB131B-2057-4224-994D-64ED7368E44E}" dt="2022-11-01T10:15:32.608" v="1" actId="478"/>
          <ac:spMkLst>
            <pc:docMk/>
            <pc:sldMk cId="2633088925" sldId="258"/>
            <ac:spMk id="10" creationId="{805F5D76-E665-8FE7-6A39-AAABB9F5A35E}"/>
          </ac:spMkLst>
        </pc:spChg>
        <pc:spChg chg="add mod">
          <ac:chgData name="유세희(Sammy)" userId="c309e5cc-64ff-444f-8b61-2a552b0828c7" providerId="ADAL" clId="{30CB131B-2057-4224-994D-64ED7368E44E}" dt="2022-11-01T10:19:26.477" v="120" actId="1076"/>
          <ac:spMkLst>
            <pc:docMk/>
            <pc:sldMk cId="2633088925" sldId="258"/>
            <ac:spMk id="13" creationId="{3AD45C8A-0927-CF76-C7AB-CBB42AFB9F12}"/>
          </ac:spMkLst>
        </pc:spChg>
        <pc:spChg chg="add mod">
          <ac:chgData name="유세희(Sammy)" userId="c309e5cc-64ff-444f-8b61-2a552b0828c7" providerId="ADAL" clId="{30CB131B-2057-4224-994D-64ED7368E44E}" dt="2022-11-01T10:19:18.055" v="96" actId="1076"/>
          <ac:spMkLst>
            <pc:docMk/>
            <pc:sldMk cId="2633088925" sldId="258"/>
            <ac:spMk id="14" creationId="{286729EB-B415-6717-A02B-9EB1860FA759}"/>
          </ac:spMkLst>
        </pc:spChg>
        <pc:spChg chg="del">
          <ac:chgData name="유세희(Sammy)" userId="c309e5cc-64ff-444f-8b61-2a552b0828c7" providerId="ADAL" clId="{30CB131B-2057-4224-994D-64ED7368E44E}" dt="2022-11-01T10:15:32.608" v="1" actId="478"/>
          <ac:spMkLst>
            <pc:docMk/>
            <pc:sldMk cId="2633088925" sldId="258"/>
            <ac:spMk id="16" creationId="{EEBB6627-4333-153E-95B0-D261D752C227}"/>
          </ac:spMkLst>
        </pc:spChg>
        <pc:spChg chg="add mod">
          <ac:chgData name="유세희(Sammy)" userId="c309e5cc-64ff-444f-8b61-2a552b0828c7" providerId="ADAL" clId="{30CB131B-2057-4224-994D-64ED7368E44E}" dt="2022-11-01T10:19:34.568" v="147" actId="1076"/>
          <ac:spMkLst>
            <pc:docMk/>
            <pc:sldMk cId="2633088925" sldId="258"/>
            <ac:spMk id="19" creationId="{2E7BD547-0A9C-42D2-A3C5-F740442B5981}"/>
          </ac:spMkLst>
        </pc:spChg>
        <pc:spChg chg="del">
          <ac:chgData name="유세희(Sammy)" userId="c309e5cc-64ff-444f-8b61-2a552b0828c7" providerId="ADAL" clId="{30CB131B-2057-4224-994D-64ED7368E44E}" dt="2022-11-01T10:15:32.608" v="1" actId="478"/>
          <ac:spMkLst>
            <pc:docMk/>
            <pc:sldMk cId="2633088925" sldId="258"/>
            <ac:spMk id="25" creationId="{85B932BD-C9FE-C558-DFE0-3596218649EA}"/>
          </ac:spMkLst>
        </pc:spChg>
        <pc:spChg chg="mod">
          <ac:chgData name="유세희(Sammy)" userId="c309e5cc-64ff-444f-8b61-2a552b0828c7" providerId="ADAL" clId="{30CB131B-2057-4224-994D-64ED7368E44E}" dt="2022-11-01T10:16:17.737" v="7" actId="1076"/>
          <ac:spMkLst>
            <pc:docMk/>
            <pc:sldMk cId="2633088925" sldId="258"/>
            <ac:spMk id="27" creationId="{89E7FCF7-4A74-29DC-4D34-3291F45312A1}"/>
          </ac:spMkLst>
        </pc:spChg>
        <pc:spChg chg="mod">
          <ac:chgData name="유세희(Sammy)" userId="c309e5cc-64ff-444f-8b61-2a552b0828c7" providerId="ADAL" clId="{30CB131B-2057-4224-994D-64ED7368E44E}" dt="2022-11-01T10:16:17.737" v="7" actId="1076"/>
          <ac:spMkLst>
            <pc:docMk/>
            <pc:sldMk cId="2633088925" sldId="258"/>
            <ac:spMk id="28" creationId="{FBB90DF4-7005-75BF-969A-492FC666505F}"/>
          </ac:spMkLst>
        </pc:spChg>
        <pc:spChg chg="del mod">
          <ac:chgData name="유세희(Sammy)" userId="c309e5cc-64ff-444f-8b61-2a552b0828c7" providerId="ADAL" clId="{30CB131B-2057-4224-994D-64ED7368E44E}" dt="2022-11-01T10:16:13.966" v="6" actId="478"/>
          <ac:spMkLst>
            <pc:docMk/>
            <pc:sldMk cId="2633088925" sldId="258"/>
            <ac:spMk id="29" creationId="{29A584AE-12F9-AD7E-10E6-87BDDDAA81A8}"/>
          </ac:spMkLst>
        </pc:spChg>
        <pc:spChg chg="del mod">
          <ac:chgData name="유세희(Sammy)" userId="c309e5cc-64ff-444f-8b61-2a552b0828c7" providerId="ADAL" clId="{30CB131B-2057-4224-994D-64ED7368E44E}" dt="2022-11-01T10:16:13.966" v="6" actId="478"/>
          <ac:spMkLst>
            <pc:docMk/>
            <pc:sldMk cId="2633088925" sldId="258"/>
            <ac:spMk id="32" creationId="{BB3ED822-40FE-9D26-CFC0-D165857C9264}"/>
          </ac:spMkLst>
        </pc:spChg>
        <pc:spChg chg="del mod">
          <ac:chgData name="유세희(Sammy)" userId="c309e5cc-64ff-444f-8b61-2a552b0828c7" providerId="ADAL" clId="{30CB131B-2057-4224-994D-64ED7368E44E}" dt="2022-11-01T10:16:13.966" v="6" actId="478"/>
          <ac:spMkLst>
            <pc:docMk/>
            <pc:sldMk cId="2633088925" sldId="258"/>
            <ac:spMk id="33" creationId="{A658D5AF-C7A9-E630-A10A-8C261FD826B5}"/>
          </ac:spMkLst>
        </pc:spChg>
        <pc:spChg chg="del">
          <ac:chgData name="유세희(Sammy)" userId="c309e5cc-64ff-444f-8b61-2a552b0828c7" providerId="ADAL" clId="{30CB131B-2057-4224-994D-64ED7368E44E}" dt="2022-11-01T10:15:38.464" v="3" actId="478"/>
          <ac:spMkLst>
            <pc:docMk/>
            <pc:sldMk cId="2633088925" sldId="258"/>
            <ac:spMk id="34" creationId="{F135FC87-88A3-B2CE-B258-DEB726962C14}"/>
          </ac:spMkLst>
        </pc:spChg>
        <pc:spChg chg="del">
          <ac:chgData name="유세희(Sammy)" userId="c309e5cc-64ff-444f-8b61-2a552b0828c7" providerId="ADAL" clId="{30CB131B-2057-4224-994D-64ED7368E44E}" dt="2022-11-01T10:15:38.464" v="3" actId="478"/>
          <ac:spMkLst>
            <pc:docMk/>
            <pc:sldMk cId="2633088925" sldId="258"/>
            <ac:spMk id="35" creationId="{16B3B997-D895-988A-BF8A-068CCB3D1E1C}"/>
          </ac:spMkLst>
        </pc:spChg>
        <pc:spChg chg="del">
          <ac:chgData name="유세희(Sammy)" userId="c309e5cc-64ff-444f-8b61-2a552b0828c7" providerId="ADAL" clId="{30CB131B-2057-4224-994D-64ED7368E44E}" dt="2022-11-01T10:15:38.464" v="3" actId="478"/>
          <ac:spMkLst>
            <pc:docMk/>
            <pc:sldMk cId="2633088925" sldId="258"/>
            <ac:spMk id="36" creationId="{80895348-ED93-A343-56E3-FE79A8A8CAE3}"/>
          </ac:spMkLst>
        </pc:spChg>
        <pc:spChg chg="del">
          <ac:chgData name="유세희(Sammy)" userId="c309e5cc-64ff-444f-8b61-2a552b0828c7" providerId="ADAL" clId="{30CB131B-2057-4224-994D-64ED7368E44E}" dt="2022-11-01T10:15:38.464" v="3" actId="478"/>
          <ac:spMkLst>
            <pc:docMk/>
            <pc:sldMk cId="2633088925" sldId="258"/>
            <ac:spMk id="39" creationId="{625A8E03-BF3F-1AAA-BCD2-D21C1C1495C7}"/>
          </ac:spMkLst>
        </pc:spChg>
        <pc:spChg chg="del">
          <ac:chgData name="유세희(Sammy)" userId="c309e5cc-64ff-444f-8b61-2a552b0828c7" providerId="ADAL" clId="{30CB131B-2057-4224-994D-64ED7368E44E}" dt="2022-11-01T10:19:15.770" v="95" actId="478"/>
          <ac:spMkLst>
            <pc:docMk/>
            <pc:sldMk cId="2633088925" sldId="258"/>
            <ac:spMk id="44" creationId="{AE84879C-9BE5-C312-5C2D-96446FF23124}"/>
          </ac:spMkLst>
        </pc:spChg>
        <pc:spChg chg="del">
          <ac:chgData name="유세희(Sammy)" userId="c309e5cc-64ff-444f-8b61-2a552b0828c7" providerId="ADAL" clId="{30CB131B-2057-4224-994D-64ED7368E44E}" dt="2022-11-01T10:15:32.608" v="1" actId="478"/>
          <ac:spMkLst>
            <pc:docMk/>
            <pc:sldMk cId="2633088925" sldId="258"/>
            <ac:spMk id="68" creationId="{593F56E1-1D21-4311-A28B-2D1301C1CCF6}"/>
          </ac:spMkLst>
        </pc:spChg>
        <pc:spChg chg="del mod">
          <ac:chgData name="유세희(Sammy)" userId="c309e5cc-64ff-444f-8b61-2a552b0828c7" providerId="ADAL" clId="{30CB131B-2057-4224-994D-64ED7368E44E}" dt="2022-11-01T10:16:13.966" v="6" actId="478"/>
          <ac:spMkLst>
            <pc:docMk/>
            <pc:sldMk cId="2633088925" sldId="258"/>
            <ac:spMk id="69" creationId="{43E039D3-B42C-2675-1252-B56475594265}"/>
          </ac:spMkLst>
        </pc:spChg>
        <pc:spChg chg="del">
          <ac:chgData name="유세희(Sammy)" userId="c309e5cc-64ff-444f-8b61-2a552b0828c7" providerId="ADAL" clId="{30CB131B-2057-4224-994D-64ED7368E44E}" dt="2022-11-01T10:15:32.608" v="1" actId="478"/>
          <ac:spMkLst>
            <pc:docMk/>
            <pc:sldMk cId="2633088925" sldId="258"/>
            <ac:spMk id="70" creationId="{18AADEFB-D60D-1F30-4EB5-4ACA2B5303D9}"/>
          </ac:spMkLst>
        </pc:spChg>
        <pc:spChg chg="del">
          <ac:chgData name="유세희(Sammy)" userId="c309e5cc-64ff-444f-8b61-2a552b0828c7" providerId="ADAL" clId="{30CB131B-2057-4224-994D-64ED7368E44E}" dt="2022-11-01T10:15:32.608" v="1" actId="478"/>
          <ac:spMkLst>
            <pc:docMk/>
            <pc:sldMk cId="2633088925" sldId="258"/>
            <ac:spMk id="71" creationId="{0D9EC9FA-BA69-697D-A010-35285B2479B9}"/>
          </ac:spMkLst>
        </pc:spChg>
        <pc:spChg chg="del">
          <ac:chgData name="유세희(Sammy)" userId="c309e5cc-64ff-444f-8b61-2a552b0828c7" providerId="ADAL" clId="{30CB131B-2057-4224-994D-64ED7368E44E}" dt="2022-11-01T10:15:32.608" v="1" actId="478"/>
          <ac:spMkLst>
            <pc:docMk/>
            <pc:sldMk cId="2633088925" sldId="258"/>
            <ac:spMk id="72" creationId="{A96C3777-3696-F725-8965-0DFA89475C46}"/>
          </ac:spMkLst>
        </pc:spChg>
        <pc:spChg chg="del mod">
          <ac:chgData name="유세희(Sammy)" userId="c309e5cc-64ff-444f-8b61-2a552b0828c7" providerId="ADAL" clId="{30CB131B-2057-4224-994D-64ED7368E44E}" dt="2022-11-01T10:16:13.966" v="6" actId="478"/>
          <ac:spMkLst>
            <pc:docMk/>
            <pc:sldMk cId="2633088925" sldId="258"/>
            <ac:spMk id="73" creationId="{C0A5380E-A40D-5096-ADED-516F93B79004}"/>
          </ac:spMkLst>
        </pc:spChg>
        <pc:spChg chg="del mod">
          <ac:chgData name="유세희(Sammy)" userId="c309e5cc-64ff-444f-8b61-2a552b0828c7" providerId="ADAL" clId="{30CB131B-2057-4224-994D-64ED7368E44E}" dt="2022-11-01T10:16:20.064" v="8" actId="478"/>
          <ac:spMkLst>
            <pc:docMk/>
            <pc:sldMk cId="2633088925" sldId="258"/>
            <ac:spMk id="74" creationId="{9A7B77E0-83F5-7A4B-231F-BCF8AAB801B0}"/>
          </ac:spMkLst>
        </pc:spChg>
        <pc:spChg chg="del mod">
          <ac:chgData name="유세희(Sammy)" userId="c309e5cc-64ff-444f-8b61-2a552b0828c7" providerId="ADAL" clId="{30CB131B-2057-4224-994D-64ED7368E44E}" dt="2022-11-01T10:16:20.064" v="8" actId="478"/>
          <ac:spMkLst>
            <pc:docMk/>
            <pc:sldMk cId="2633088925" sldId="258"/>
            <ac:spMk id="75" creationId="{263704D2-D536-2B4C-1561-06F60477EF78}"/>
          </ac:spMkLst>
        </pc:spChg>
        <pc:spChg chg="del">
          <ac:chgData name="유세희(Sammy)" userId="c309e5cc-64ff-444f-8b61-2a552b0828c7" providerId="ADAL" clId="{30CB131B-2057-4224-994D-64ED7368E44E}" dt="2022-11-01T10:15:32.608" v="1" actId="478"/>
          <ac:spMkLst>
            <pc:docMk/>
            <pc:sldMk cId="2633088925" sldId="258"/>
            <ac:spMk id="76" creationId="{5BDC7401-90C1-4357-B66F-084A99EB0EB1}"/>
          </ac:spMkLst>
        </pc:spChg>
        <pc:spChg chg="del mod">
          <ac:chgData name="유세희(Sammy)" userId="c309e5cc-64ff-444f-8b61-2a552b0828c7" providerId="ADAL" clId="{30CB131B-2057-4224-994D-64ED7368E44E}" dt="2022-11-01T10:16:13.966" v="6" actId="478"/>
          <ac:spMkLst>
            <pc:docMk/>
            <pc:sldMk cId="2633088925" sldId="258"/>
            <ac:spMk id="77" creationId="{732EB01E-D81A-632E-8AA3-B2B8FDC198C3}"/>
          </ac:spMkLst>
        </pc:spChg>
        <pc:picChg chg="del">
          <ac:chgData name="유세희(Sammy)" userId="c309e5cc-64ff-444f-8b61-2a552b0828c7" providerId="ADAL" clId="{30CB131B-2057-4224-994D-64ED7368E44E}" dt="2022-11-01T10:15:32.608" v="1" actId="478"/>
          <ac:picMkLst>
            <pc:docMk/>
            <pc:sldMk cId="2633088925" sldId="258"/>
            <ac:picMk id="5" creationId="{A17715C7-F94D-F55C-1EE5-364D412C678A}"/>
          </ac:picMkLst>
        </pc:picChg>
        <pc:picChg chg="del">
          <ac:chgData name="유세희(Sammy)" userId="c309e5cc-64ff-444f-8b61-2a552b0828c7" providerId="ADAL" clId="{30CB131B-2057-4224-994D-64ED7368E44E}" dt="2022-11-01T10:15:32.608" v="1" actId="478"/>
          <ac:picMkLst>
            <pc:docMk/>
            <pc:sldMk cId="2633088925" sldId="258"/>
            <ac:picMk id="7" creationId="{BB5E219B-271B-0D91-E418-332100A68F8C}"/>
          </ac:picMkLst>
        </pc:picChg>
        <pc:picChg chg="add mod">
          <ac:chgData name="유세희(Sammy)" userId="c309e5cc-64ff-444f-8b61-2a552b0828c7" providerId="ADAL" clId="{30CB131B-2057-4224-994D-64ED7368E44E}" dt="2022-11-01T10:17:19.130" v="13" actId="1076"/>
          <ac:picMkLst>
            <pc:docMk/>
            <pc:sldMk cId="2633088925" sldId="258"/>
            <ac:picMk id="11" creationId="{2C1E6941-3D20-7678-45DD-92D51A508F48}"/>
          </ac:picMkLst>
        </pc:picChg>
        <pc:picChg chg="add mod">
          <ac:chgData name="유세희(Sammy)" userId="c309e5cc-64ff-444f-8b61-2a552b0828c7" providerId="ADAL" clId="{30CB131B-2057-4224-994D-64ED7368E44E}" dt="2022-11-01T10:19:35.347" v="148" actId="1076"/>
          <ac:picMkLst>
            <pc:docMk/>
            <pc:sldMk cId="2633088925" sldId="258"/>
            <ac:picMk id="17" creationId="{674F7E86-14EF-E4DE-674C-D29B2B6C6FCE}"/>
          </ac:picMkLst>
        </pc:picChg>
        <pc:picChg chg="mod">
          <ac:chgData name="유세희(Sammy)" userId="c309e5cc-64ff-444f-8b61-2a552b0828c7" providerId="ADAL" clId="{30CB131B-2057-4224-994D-64ED7368E44E}" dt="2022-11-01T10:15:37.068" v="2" actId="1076"/>
          <ac:picMkLst>
            <pc:docMk/>
            <pc:sldMk cId="2633088925" sldId="258"/>
            <ac:picMk id="23" creationId="{AB7723FD-5C11-6CD8-FDAE-2ED5AF1527C0}"/>
          </ac:picMkLst>
        </pc:picChg>
      </pc:sldChg>
      <pc:sldChg chg="addSp delSp modSp mod">
        <pc:chgData name="유세희(Sammy)" userId="c309e5cc-64ff-444f-8b61-2a552b0828c7" providerId="ADAL" clId="{30CB131B-2057-4224-994D-64ED7368E44E}" dt="2022-11-01T10:22:32.617" v="212" actId="1076"/>
        <pc:sldMkLst>
          <pc:docMk/>
          <pc:sldMk cId="37789811" sldId="259"/>
        </pc:sldMkLst>
        <pc:spChg chg="add mod">
          <ac:chgData name="유세희(Sammy)" userId="c309e5cc-64ff-444f-8b61-2a552b0828c7" providerId="ADAL" clId="{30CB131B-2057-4224-994D-64ED7368E44E}" dt="2022-11-01T10:22:32.617" v="212" actId="1076"/>
          <ac:spMkLst>
            <pc:docMk/>
            <pc:sldMk cId="37789811" sldId="259"/>
            <ac:spMk id="11" creationId="{04292F7C-77AF-06E9-4343-B272C3028F3A}"/>
          </ac:spMkLst>
        </pc:spChg>
        <pc:spChg chg="del">
          <ac:chgData name="유세희(Sammy)" userId="c309e5cc-64ff-444f-8b61-2a552b0828c7" providerId="ADAL" clId="{30CB131B-2057-4224-994D-64ED7368E44E}" dt="2022-11-01T10:19:41.994" v="149" actId="478"/>
          <ac:spMkLst>
            <pc:docMk/>
            <pc:sldMk cId="37789811" sldId="259"/>
            <ac:spMk id="20" creationId="{E6EEDCC7-326C-D0CE-6848-C41BC54AA473}"/>
          </ac:spMkLst>
        </pc:spChg>
        <pc:spChg chg="del">
          <ac:chgData name="유세희(Sammy)" userId="c309e5cc-64ff-444f-8b61-2a552b0828c7" providerId="ADAL" clId="{30CB131B-2057-4224-994D-64ED7368E44E}" dt="2022-11-01T10:15:06.695" v="0" actId="478"/>
          <ac:spMkLst>
            <pc:docMk/>
            <pc:sldMk cId="37789811" sldId="259"/>
            <ac:spMk id="31" creationId="{0524E759-DED0-9CB0-5234-660395E2CAEF}"/>
          </ac:spMkLst>
        </pc:spChg>
        <pc:spChg chg="del">
          <ac:chgData name="유세희(Sammy)" userId="c309e5cc-64ff-444f-8b61-2a552b0828c7" providerId="ADAL" clId="{30CB131B-2057-4224-994D-64ED7368E44E}" dt="2022-11-01T10:15:06.695" v="0" actId="478"/>
          <ac:spMkLst>
            <pc:docMk/>
            <pc:sldMk cId="37789811" sldId="259"/>
            <ac:spMk id="32" creationId="{9B9C68A7-2E91-EF77-3741-FB56A0082610}"/>
          </ac:spMkLst>
        </pc:spChg>
        <pc:spChg chg="del">
          <ac:chgData name="유세희(Sammy)" userId="c309e5cc-64ff-444f-8b61-2a552b0828c7" providerId="ADAL" clId="{30CB131B-2057-4224-994D-64ED7368E44E}" dt="2022-11-01T10:15:06.695" v="0" actId="478"/>
          <ac:spMkLst>
            <pc:docMk/>
            <pc:sldMk cId="37789811" sldId="259"/>
            <ac:spMk id="35" creationId="{5A402A03-F49A-C966-2637-B9DC5A9685BC}"/>
          </ac:spMkLst>
        </pc:spChg>
        <pc:spChg chg="del">
          <ac:chgData name="유세희(Sammy)" userId="c309e5cc-64ff-444f-8b61-2a552b0828c7" providerId="ADAL" clId="{30CB131B-2057-4224-994D-64ED7368E44E}" dt="2022-11-01T10:15:06.695" v="0" actId="478"/>
          <ac:spMkLst>
            <pc:docMk/>
            <pc:sldMk cId="37789811" sldId="259"/>
            <ac:spMk id="36" creationId="{B08B5FCC-714B-04D0-60FD-A997473C9CDA}"/>
          </ac:spMkLst>
        </pc:spChg>
        <pc:spChg chg="del">
          <ac:chgData name="유세희(Sammy)" userId="c309e5cc-64ff-444f-8b61-2a552b0828c7" providerId="ADAL" clId="{30CB131B-2057-4224-994D-64ED7368E44E}" dt="2022-11-01T10:15:06.695" v="0" actId="478"/>
          <ac:spMkLst>
            <pc:docMk/>
            <pc:sldMk cId="37789811" sldId="259"/>
            <ac:spMk id="37" creationId="{0099CAA3-83CF-98F3-3BA0-3C83E8CC1333}"/>
          </ac:spMkLst>
        </pc:spChg>
        <pc:spChg chg="del">
          <ac:chgData name="유세희(Sammy)" userId="c309e5cc-64ff-444f-8b61-2a552b0828c7" providerId="ADAL" clId="{30CB131B-2057-4224-994D-64ED7368E44E}" dt="2022-11-01T10:15:06.695" v="0" actId="478"/>
          <ac:spMkLst>
            <pc:docMk/>
            <pc:sldMk cId="37789811" sldId="259"/>
            <ac:spMk id="38" creationId="{0696557C-EF41-5B16-C100-561FBBD12FEC}"/>
          </ac:spMkLst>
        </pc:spChg>
        <pc:spChg chg="mod">
          <ac:chgData name="유세희(Sammy)" userId="c309e5cc-64ff-444f-8b61-2a552b0828c7" providerId="ADAL" clId="{30CB131B-2057-4224-994D-64ED7368E44E}" dt="2022-11-01T10:19:53.698" v="152" actId="6549"/>
          <ac:spMkLst>
            <pc:docMk/>
            <pc:sldMk cId="37789811" sldId="259"/>
            <ac:spMk id="41" creationId="{B22C393E-62C6-D9BF-39E5-4464555965CB}"/>
          </ac:spMkLst>
        </pc:spChg>
        <pc:spChg chg="mod">
          <ac:chgData name="유세희(Sammy)" userId="c309e5cc-64ff-444f-8b61-2a552b0828c7" providerId="ADAL" clId="{30CB131B-2057-4224-994D-64ED7368E44E}" dt="2022-11-01T10:19:51.715" v="151" actId="6549"/>
          <ac:spMkLst>
            <pc:docMk/>
            <pc:sldMk cId="37789811" sldId="259"/>
            <ac:spMk id="47" creationId="{59CDAA8C-3A01-8FC3-DE44-BDFFC766FCD7}"/>
          </ac:spMkLst>
        </pc:spChg>
        <pc:spChg chg="mod">
          <ac:chgData name="유세희(Sammy)" userId="c309e5cc-64ff-444f-8b61-2a552b0828c7" providerId="ADAL" clId="{30CB131B-2057-4224-994D-64ED7368E44E}" dt="2022-11-01T10:19:54.955" v="153" actId="6549"/>
          <ac:spMkLst>
            <pc:docMk/>
            <pc:sldMk cId="37789811" sldId="259"/>
            <ac:spMk id="48" creationId="{E41C4A81-8453-9FFB-F6EB-40E41573C15E}"/>
          </ac:spMkLst>
        </pc:spChg>
        <pc:spChg chg="mod">
          <ac:chgData name="유세희(Sammy)" userId="c309e5cc-64ff-444f-8b61-2a552b0828c7" providerId="ADAL" clId="{30CB131B-2057-4224-994D-64ED7368E44E}" dt="2022-11-01T10:19:56.068" v="154" actId="6549"/>
          <ac:spMkLst>
            <pc:docMk/>
            <pc:sldMk cId="37789811" sldId="259"/>
            <ac:spMk id="49" creationId="{9CB21417-AA54-2DC6-D7A7-D5A12E3065CD}"/>
          </ac:spMkLst>
        </pc:spChg>
        <pc:spChg chg="mod">
          <ac:chgData name="유세희(Sammy)" userId="c309e5cc-64ff-444f-8b61-2a552b0828c7" providerId="ADAL" clId="{30CB131B-2057-4224-994D-64ED7368E44E}" dt="2022-11-01T10:19:45.541" v="150" actId="1076"/>
          <ac:spMkLst>
            <pc:docMk/>
            <pc:sldMk cId="37789811" sldId="259"/>
            <ac:spMk id="62" creationId="{7A454CB0-D6E7-D54A-6EB8-6FFD598DA8A2}"/>
          </ac:spMkLst>
        </pc:spChg>
        <pc:spChg chg="del">
          <ac:chgData name="유세희(Sammy)" userId="c309e5cc-64ff-444f-8b61-2a552b0828c7" providerId="ADAL" clId="{30CB131B-2057-4224-994D-64ED7368E44E}" dt="2022-11-01T10:15:06.695" v="0" actId="478"/>
          <ac:spMkLst>
            <pc:docMk/>
            <pc:sldMk cId="37789811" sldId="259"/>
            <ac:spMk id="72" creationId="{934EAFAB-C98B-334E-31E1-F20F6EEA59DD}"/>
          </ac:spMkLst>
        </pc:spChg>
        <pc:spChg chg="del">
          <ac:chgData name="유세희(Sammy)" userId="c309e5cc-64ff-444f-8b61-2a552b0828c7" providerId="ADAL" clId="{30CB131B-2057-4224-994D-64ED7368E44E}" dt="2022-11-01T10:15:06.695" v="0" actId="478"/>
          <ac:spMkLst>
            <pc:docMk/>
            <pc:sldMk cId="37789811" sldId="259"/>
            <ac:spMk id="73" creationId="{940E9624-546B-7FB9-8237-C10CB38DB90E}"/>
          </ac:spMkLst>
        </pc:spChg>
        <pc:spChg chg="del">
          <ac:chgData name="유세희(Sammy)" userId="c309e5cc-64ff-444f-8b61-2a552b0828c7" providerId="ADAL" clId="{30CB131B-2057-4224-994D-64ED7368E44E}" dt="2022-11-01T10:15:06.695" v="0" actId="478"/>
          <ac:spMkLst>
            <pc:docMk/>
            <pc:sldMk cId="37789811" sldId="259"/>
            <ac:spMk id="74" creationId="{86A64EC1-0EA1-0854-98D5-1B6553964541}"/>
          </ac:spMkLst>
        </pc:spChg>
        <pc:spChg chg="del">
          <ac:chgData name="유세희(Sammy)" userId="c309e5cc-64ff-444f-8b61-2a552b0828c7" providerId="ADAL" clId="{30CB131B-2057-4224-994D-64ED7368E44E}" dt="2022-11-01T10:15:06.695" v="0" actId="478"/>
          <ac:spMkLst>
            <pc:docMk/>
            <pc:sldMk cId="37789811" sldId="259"/>
            <ac:spMk id="75" creationId="{A5F3CE15-B2B0-513A-8DF2-5452120B83E8}"/>
          </ac:spMkLst>
        </pc:spChg>
        <pc:spChg chg="mod">
          <ac:chgData name="유세희(Sammy)" userId="c309e5cc-64ff-444f-8b61-2a552b0828c7" providerId="ADAL" clId="{30CB131B-2057-4224-994D-64ED7368E44E}" dt="2022-11-01T10:19:45.541" v="150" actId="1076"/>
          <ac:spMkLst>
            <pc:docMk/>
            <pc:sldMk cId="37789811" sldId="259"/>
            <ac:spMk id="77" creationId="{7039EE3C-A0FC-F313-32D8-91570D4B1E62}"/>
          </ac:spMkLst>
        </pc:spChg>
        <pc:spChg chg="mod">
          <ac:chgData name="유세희(Sammy)" userId="c309e5cc-64ff-444f-8b61-2a552b0828c7" providerId="ADAL" clId="{30CB131B-2057-4224-994D-64ED7368E44E}" dt="2022-11-01T10:19:45.541" v="150" actId="1076"/>
          <ac:spMkLst>
            <pc:docMk/>
            <pc:sldMk cId="37789811" sldId="259"/>
            <ac:spMk id="78" creationId="{A3762AF7-0480-C216-97FE-8FADA460D208}"/>
          </ac:spMkLst>
        </pc:spChg>
        <pc:spChg chg="del mod">
          <ac:chgData name="유세희(Sammy)" userId="c309e5cc-64ff-444f-8b61-2a552b0828c7" providerId="ADAL" clId="{30CB131B-2057-4224-994D-64ED7368E44E}" dt="2022-11-01T10:21:54.377" v="178" actId="478"/>
          <ac:spMkLst>
            <pc:docMk/>
            <pc:sldMk cId="37789811" sldId="259"/>
            <ac:spMk id="79" creationId="{964793C2-E21E-CC0B-1B81-B55759076586}"/>
          </ac:spMkLst>
        </pc:spChg>
        <pc:spChg chg="del mod">
          <ac:chgData name="유세희(Sammy)" userId="c309e5cc-64ff-444f-8b61-2a552b0828c7" providerId="ADAL" clId="{30CB131B-2057-4224-994D-64ED7368E44E}" dt="2022-11-01T10:22:06.172" v="196" actId="478"/>
          <ac:spMkLst>
            <pc:docMk/>
            <pc:sldMk cId="37789811" sldId="259"/>
            <ac:spMk id="80" creationId="{3DB3F99A-38CC-CF28-C936-76DB07155299}"/>
          </ac:spMkLst>
        </pc:spChg>
        <pc:picChg chg="add del mod">
          <ac:chgData name="유세희(Sammy)" userId="c309e5cc-64ff-444f-8b61-2a552b0828c7" providerId="ADAL" clId="{30CB131B-2057-4224-994D-64ED7368E44E}" dt="2022-11-01T10:21:05.926" v="158" actId="478"/>
          <ac:picMkLst>
            <pc:docMk/>
            <pc:sldMk cId="37789811" sldId="259"/>
            <ac:picMk id="5" creationId="{0898FF93-9BE3-0502-FEA5-880A9B5FD0BD}"/>
          </ac:picMkLst>
        </pc:picChg>
        <pc:picChg chg="add del mod">
          <ac:chgData name="유세희(Sammy)" userId="c309e5cc-64ff-444f-8b61-2a552b0828c7" providerId="ADAL" clId="{30CB131B-2057-4224-994D-64ED7368E44E}" dt="2022-11-01T10:21:11.130" v="160" actId="478"/>
          <ac:picMkLst>
            <pc:docMk/>
            <pc:sldMk cId="37789811" sldId="259"/>
            <ac:picMk id="6" creationId="{0E7196E8-12CE-6DEB-10AB-718B9EB11A58}"/>
          </ac:picMkLst>
        </pc:picChg>
        <pc:picChg chg="add mod modCrop">
          <ac:chgData name="유세희(Sammy)" userId="c309e5cc-64ff-444f-8b61-2a552b0828c7" providerId="ADAL" clId="{30CB131B-2057-4224-994D-64ED7368E44E}" dt="2022-11-01T10:21:41.965" v="173" actId="14100"/>
          <ac:picMkLst>
            <pc:docMk/>
            <pc:sldMk cId="37789811" sldId="259"/>
            <ac:picMk id="8" creationId="{73BE57DD-9E10-1A5A-E047-111E68F17A12}"/>
          </ac:picMkLst>
        </pc:picChg>
        <pc:picChg chg="add mod modCrop">
          <ac:chgData name="유세희(Sammy)" userId="c309e5cc-64ff-444f-8b61-2a552b0828c7" providerId="ADAL" clId="{30CB131B-2057-4224-994D-64ED7368E44E}" dt="2022-11-01T10:21:39.621" v="172" actId="1076"/>
          <ac:picMkLst>
            <pc:docMk/>
            <pc:sldMk cId="37789811" sldId="259"/>
            <ac:picMk id="9" creationId="{0AFB2B7F-5DF9-F113-5B54-4FB986D0CC15}"/>
          </ac:picMkLst>
        </pc:picChg>
        <pc:picChg chg="add del mod">
          <ac:chgData name="유세희(Sammy)" userId="c309e5cc-64ff-444f-8b61-2a552b0828c7" providerId="ADAL" clId="{30CB131B-2057-4224-994D-64ED7368E44E}" dt="2022-11-01T10:21:47.368" v="175" actId="478"/>
          <ac:picMkLst>
            <pc:docMk/>
            <pc:sldMk cId="37789811" sldId="259"/>
            <ac:picMk id="10" creationId="{88E2FAB8-5710-59AA-2908-57024032974B}"/>
          </ac:picMkLst>
        </pc:picChg>
        <pc:picChg chg="add mod modCrop">
          <ac:chgData name="유세희(Sammy)" userId="c309e5cc-64ff-444f-8b61-2a552b0828c7" providerId="ADAL" clId="{30CB131B-2057-4224-994D-64ED7368E44E}" dt="2022-11-01T10:22:21.897" v="202" actId="1076"/>
          <ac:picMkLst>
            <pc:docMk/>
            <pc:sldMk cId="37789811" sldId="259"/>
            <ac:picMk id="13" creationId="{01D631FF-D457-59B1-78DA-6CE694AE77E9}"/>
          </ac:picMkLst>
        </pc:picChg>
        <pc:picChg chg="del">
          <ac:chgData name="유세희(Sammy)" userId="c309e5cc-64ff-444f-8b61-2a552b0828c7" providerId="ADAL" clId="{30CB131B-2057-4224-994D-64ED7368E44E}" dt="2022-11-01T10:15:06.695" v="0" actId="478"/>
          <ac:picMkLst>
            <pc:docMk/>
            <pc:sldMk cId="37789811" sldId="259"/>
            <ac:picMk id="33" creationId="{2FE546FC-158F-9BEA-A8D4-DCF2BE062D60}"/>
          </ac:picMkLst>
        </pc:picChg>
        <pc:picChg chg="del">
          <ac:chgData name="유세희(Sammy)" userId="c309e5cc-64ff-444f-8b61-2a552b0828c7" providerId="ADAL" clId="{30CB131B-2057-4224-994D-64ED7368E44E}" dt="2022-11-01T10:15:06.695" v="0" actId="478"/>
          <ac:picMkLst>
            <pc:docMk/>
            <pc:sldMk cId="37789811" sldId="259"/>
            <ac:picMk id="34" creationId="{C1E7349C-2841-74DD-2C12-1D1AED5F780C}"/>
          </ac:picMkLst>
        </pc:picChg>
        <pc:picChg chg="mod">
          <ac:chgData name="유세희(Sammy)" userId="c309e5cc-64ff-444f-8b61-2a552b0828c7" providerId="ADAL" clId="{30CB131B-2057-4224-994D-64ED7368E44E}" dt="2022-11-01T10:19:45.541" v="150" actId="1076"/>
          <ac:picMkLst>
            <pc:docMk/>
            <pc:sldMk cId="37789811" sldId="259"/>
            <ac:picMk id="70" creationId="{B61FDB59-248B-9772-F7AC-74599A466121}"/>
          </ac:picMkLst>
        </pc:picChg>
      </pc:sldChg>
      <pc:sldChg chg="delSp modSp del mod">
        <pc:chgData name="유세희(Sammy)" userId="c309e5cc-64ff-444f-8b61-2a552b0828c7" providerId="ADAL" clId="{30CB131B-2057-4224-994D-64ED7368E44E}" dt="2022-11-01T10:23:24.005" v="219" actId="47"/>
        <pc:sldMkLst>
          <pc:docMk/>
          <pc:sldMk cId="2394621406" sldId="260"/>
        </pc:sldMkLst>
        <pc:spChg chg="del">
          <ac:chgData name="유세희(Sammy)" userId="c309e5cc-64ff-444f-8b61-2a552b0828c7" providerId="ADAL" clId="{30CB131B-2057-4224-994D-64ED7368E44E}" dt="2022-11-01T10:22:37.991" v="213" actId="478"/>
          <ac:spMkLst>
            <pc:docMk/>
            <pc:sldMk cId="2394621406" sldId="260"/>
            <ac:spMk id="4" creationId="{D3DEB2B9-0D00-8E8E-5003-E70E950D5E37}"/>
          </ac:spMkLst>
        </pc:spChg>
        <pc:spChg chg="del">
          <ac:chgData name="유세희(Sammy)" userId="c309e5cc-64ff-444f-8b61-2a552b0828c7" providerId="ADAL" clId="{30CB131B-2057-4224-994D-64ED7368E44E}" dt="2022-11-01T10:22:37.991" v="213" actId="478"/>
          <ac:spMkLst>
            <pc:docMk/>
            <pc:sldMk cId="2394621406" sldId="260"/>
            <ac:spMk id="5" creationId="{BF6B8B4D-651F-A386-C461-5B5B53707538}"/>
          </ac:spMkLst>
        </pc:spChg>
        <pc:spChg chg="del">
          <ac:chgData name="유세희(Sammy)" userId="c309e5cc-64ff-444f-8b61-2a552b0828c7" providerId="ADAL" clId="{30CB131B-2057-4224-994D-64ED7368E44E}" dt="2022-11-01T10:22:54.571" v="214" actId="478"/>
          <ac:spMkLst>
            <pc:docMk/>
            <pc:sldMk cId="2394621406" sldId="260"/>
            <ac:spMk id="6" creationId="{998D159D-8C38-956D-A056-6D4FFA04F633}"/>
          </ac:spMkLst>
        </pc:spChg>
        <pc:spChg chg="del">
          <ac:chgData name="유세희(Sammy)" userId="c309e5cc-64ff-444f-8b61-2a552b0828c7" providerId="ADAL" clId="{30CB131B-2057-4224-994D-64ED7368E44E}" dt="2022-11-01T10:23:19.599" v="215" actId="478"/>
          <ac:spMkLst>
            <pc:docMk/>
            <pc:sldMk cId="2394621406" sldId="260"/>
            <ac:spMk id="8" creationId="{3A18241C-EEC6-938D-D329-5AEBA2FF3FB0}"/>
          </ac:spMkLst>
        </pc:spChg>
        <pc:spChg chg="del">
          <ac:chgData name="유세희(Sammy)" userId="c309e5cc-64ff-444f-8b61-2a552b0828c7" providerId="ADAL" clId="{30CB131B-2057-4224-994D-64ED7368E44E}" dt="2022-11-01T10:23:19.599" v="215" actId="478"/>
          <ac:spMkLst>
            <pc:docMk/>
            <pc:sldMk cId="2394621406" sldId="260"/>
            <ac:spMk id="10" creationId="{C9619C6F-8E41-313C-4718-C50601B34DAE}"/>
          </ac:spMkLst>
        </pc:spChg>
        <pc:spChg chg="del">
          <ac:chgData name="유세희(Sammy)" userId="c309e5cc-64ff-444f-8b61-2a552b0828c7" providerId="ADAL" clId="{30CB131B-2057-4224-994D-64ED7368E44E}" dt="2022-11-01T10:22:37.991" v="213" actId="478"/>
          <ac:spMkLst>
            <pc:docMk/>
            <pc:sldMk cId="2394621406" sldId="260"/>
            <ac:spMk id="14" creationId="{72EC2DE1-4CB6-EF12-12F4-211456E5480C}"/>
          </ac:spMkLst>
        </pc:spChg>
        <pc:spChg chg="del">
          <ac:chgData name="유세희(Sammy)" userId="c309e5cc-64ff-444f-8b61-2a552b0828c7" providerId="ADAL" clId="{30CB131B-2057-4224-994D-64ED7368E44E}" dt="2022-11-01T10:22:37.991" v="213" actId="478"/>
          <ac:spMkLst>
            <pc:docMk/>
            <pc:sldMk cId="2394621406" sldId="260"/>
            <ac:spMk id="15" creationId="{EB52AE17-60B2-2CAE-E45B-EA80734FDF77}"/>
          </ac:spMkLst>
        </pc:spChg>
        <pc:spChg chg="del">
          <ac:chgData name="유세희(Sammy)" userId="c309e5cc-64ff-444f-8b61-2a552b0828c7" providerId="ADAL" clId="{30CB131B-2057-4224-994D-64ED7368E44E}" dt="2022-11-01T10:22:37.991" v="213" actId="478"/>
          <ac:spMkLst>
            <pc:docMk/>
            <pc:sldMk cId="2394621406" sldId="260"/>
            <ac:spMk id="18" creationId="{14389F21-F581-CC6D-476A-1C69AE4260AF}"/>
          </ac:spMkLst>
        </pc:spChg>
        <pc:spChg chg="del">
          <ac:chgData name="유세희(Sammy)" userId="c309e5cc-64ff-444f-8b61-2a552b0828c7" providerId="ADAL" clId="{30CB131B-2057-4224-994D-64ED7368E44E}" dt="2022-11-01T10:22:37.991" v="213" actId="478"/>
          <ac:spMkLst>
            <pc:docMk/>
            <pc:sldMk cId="2394621406" sldId="260"/>
            <ac:spMk id="19" creationId="{ACEA9D65-BD2F-97A8-01B2-7D100ACF3833}"/>
          </ac:spMkLst>
        </pc:spChg>
        <pc:spChg chg="del">
          <ac:chgData name="유세희(Sammy)" userId="c309e5cc-64ff-444f-8b61-2a552b0828c7" providerId="ADAL" clId="{30CB131B-2057-4224-994D-64ED7368E44E}" dt="2022-11-01T10:22:37.991" v="213" actId="478"/>
          <ac:spMkLst>
            <pc:docMk/>
            <pc:sldMk cId="2394621406" sldId="260"/>
            <ac:spMk id="20" creationId="{49A96746-82B5-79C6-24DA-B90B604DF70E}"/>
          </ac:spMkLst>
        </pc:spChg>
        <pc:spChg chg="del">
          <ac:chgData name="유세희(Sammy)" userId="c309e5cc-64ff-444f-8b61-2a552b0828c7" providerId="ADAL" clId="{30CB131B-2057-4224-994D-64ED7368E44E}" dt="2022-11-01T10:22:37.991" v="213" actId="478"/>
          <ac:spMkLst>
            <pc:docMk/>
            <pc:sldMk cId="2394621406" sldId="260"/>
            <ac:spMk id="21" creationId="{01A5297B-6506-8C6C-2582-6FB003B6C459}"/>
          </ac:spMkLst>
        </pc:spChg>
        <pc:spChg chg="del">
          <ac:chgData name="유세희(Sammy)" userId="c309e5cc-64ff-444f-8b61-2a552b0828c7" providerId="ADAL" clId="{30CB131B-2057-4224-994D-64ED7368E44E}" dt="2022-11-01T10:23:19.599" v="215" actId="478"/>
          <ac:spMkLst>
            <pc:docMk/>
            <pc:sldMk cId="2394621406" sldId="260"/>
            <ac:spMk id="26" creationId="{8D5FE577-6849-3B90-2E20-57D7E397433B}"/>
          </ac:spMkLst>
        </pc:spChg>
        <pc:spChg chg="del">
          <ac:chgData name="유세희(Sammy)" userId="c309e5cc-64ff-444f-8b61-2a552b0828c7" providerId="ADAL" clId="{30CB131B-2057-4224-994D-64ED7368E44E}" dt="2022-11-01T10:23:22.193" v="217" actId="478"/>
          <ac:spMkLst>
            <pc:docMk/>
            <pc:sldMk cId="2394621406" sldId="260"/>
            <ac:spMk id="30" creationId="{A0DEF2AD-E084-F260-0BFB-56A65514E764}"/>
          </ac:spMkLst>
        </pc:spChg>
        <pc:spChg chg="del mod">
          <ac:chgData name="유세희(Sammy)" userId="c309e5cc-64ff-444f-8b61-2a552b0828c7" providerId="ADAL" clId="{30CB131B-2057-4224-994D-64ED7368E44E}" dt="2022-11-01T10:23:22.821" v="218" actId="478"/>
          <ac:spMkLst>
            <pc:docMk/>
            <pc:sldMk cId="2394621406" sldId="260"/>
            <ac:spMk id="31" creationId="{467CE44B-6BFD-A5E8-F3AE-B9828E69781B}"/>
          </ac:spMkLst>
        </pc:spChg>
        <pc:spChg chg="del">
          <ac:chgData name="유세희(Sammy)" userId="c309e5cc-64ff-444f-8b61-2a552b0828c7" providerId="ADAL" clId="{30CB131B-2057-4224-994D-64ED7368E44E}" dt="2022-11-01T10:23:19.599" v="215" actId="478"/>
          <ac:spMkLst>
            <pc:docMk/>
            <pc:sldMk cId="2394621406" sldId="260"/>
            <ac:spMk id="32" creationId="{61952FD1-1386-149C-E275-38576F0299E8}"/>
          </ac:spMkLst>
        </pc:spChg>
        <pc:spChg chg="del">
          <ac:chgData name="유세희(Sammy)" userId="c309e5cc-64ff-444f-8b61-2a552b0828c7" providerId="ADAL" clId="{30CB131B-2057-4224-994D-64ED7368E44E}" dt="2022-11-01T10:23:19.599" v="215" actId="478"/>
          <ac:spMkLst>
            <pc:docMk/>
            <pc:sldMk cId="2394621406" sldId="260"/>
            <ac:spMk id="33" creationId="{11D5D20B-8DE9-B85A-4889-17490D06555E}"/>
          </ac:spMkLst>
        </pc:spChg>
        <pc:spChg chg="del">
          <ac:chgData name="유세희(Sammy)" userId="c309e5cc-64ff-444f-8b61-2a552b0828c7" providerId="ADAL" clId="{30CB131B-2057-4224-994D-64ED7368E44E}" dt="2022-11-01T10:23:19.599" v="215" actId="478"/>
          <ac:spMkLst>
            <pc:docMk/>
            <pc:sldMk cId="2394621406" sldId="260"/>
            <ac:spMk id="38" creationId="{50A0CA3D-79E1-12DE-063A-C9B87FD082A7}"/>
          </ac:spMkLst>
        </pc:spChg>
        <pc:spChg chg="del">
          <ac:chgData name="유세희(Sammy)" userId="c309e5cc-64ff-444f-8b61-2a552b0828c7" providerId="ADAL" clId="{30CB131B-2057-4224-994D-64ED7368E44E}" dt="2022-11-01T10:23:19.599" v="215" actId="478"/>
          <ac:spMkLst>
            <pc:docMk/>
            <pc:sldMk cId="2394621406" sldId="260"/>
            <ac:spMk id="39" creationId="{953CD44C-CFA4-14E6-46F3-850FD3A4336B}"/>
          </ac:spMkLst>
        </pc:spChg>
        <pc:spChg chg="del">
          <ac:chgData name="유세희(Sammy)" userId="c309e5cc-64ff-444f-8b61-2a552b0828c7" providerId="ADAL" clId="{30CB131B-2057-4224-994D-64ED7368E44E}" dt="2022-11-01T10:23:19.599" v="215" actId="478"/>
          <ac:spMkLst>
            <pc:docMk/>
            <pc:sldMk cId="2394621406" sldId="260"/>
            <ac:spMk id="40" creationId="{79C52F4B-2443-1CD7-2867-49B9235EB6F7}"/>
          </ac:spMkLst>
        </pc:spChg>
        <pc:spChg chg="del">
          <ac:chgData name="유세희(Sammy)" userId="c309e5cc-64ff-444f-8b61-2a552b0828c7" providerId="ADAL" clId="{30CB131B-2057-4224-994D-64ED7368E44E}" dt="2022-11-01T10:23:19.599" v="215" actId="478"/>
          <ac:spMkLst>
            <pc:docMk/>
            <pc:sldMk cId="2394621406" sldId="260"/>
            <ac:spMk id="41" creationId="{C7434386-F5FF-F984-EF7B-6A7FA4954496}"/>
          </ac:spMkLst>
        </pc:spChg>
        <pc:spChg chg="del">
          <ac:chgData name="유세희(Sammy)" userId="c309e5cc-64ff-444f-8b61-2a552b0828c7" providerId="ADAL" clId="{30CB131B-2057-4224-994D-64ED7368E44E}" dt="2022-11-01T10:23:19.599" v="215" actId="478"/>
          <ac:spMkLst>
            <pc:docMk/>
            <pc:sldMk cId="2394621406" sldId="260"/>
            <ac:spMk id="42" creationId="{96A01713-AD3B-42FF-2B37-0F2868A72BFE}"/>
          </ac:spMkLst>
        </pc:spChg>
        <pc:spChg chg="del">
          <ac:chgData name="유세희(Sammy)" userId="c309e5cc-64ff-444f-8b61-2a552b0828c7" providerId="ADAL" clId="{30CB131B-2057-4224-994D-64ED7368E44E}" dt="2022-11-01T10:23:19.599" v="215" actId="478"/>
          <ac:spMkLst>
            <pc:docMk/>
            <pc:sldMk cId="2394621406" sldId="260"/>
            <ac:spMk id="43" creationId="{7558F087-AD03-02FD-28CB-74261E5B159E}"/>
          </ac:spMkLst>
        </pc:spChg>
        <pc:spChg chg="del">
          <ac:chgData name="유세희(Sammy)" userId="c309e5cc-64ff-444f-8b61-2a552b0828c7" providerId="ADAL" clId="{30CB131B-2057-4224-994D-64ED7368E44E}" dt="2022-11-01T10:22:37.991" v="213" actId="478"/>
          <ac:spMkLst>
            <pc:docMk/>
            <pc:sldMk cId="2394621406" sldId="260"/>
            <ac:spMk id="50" creationId="{942BA4EE-1EF9-AFD6-7AA1-2810E826EE11}"/>
          </ac:spMkLst>
        </pc:spChg>
        <pc:spChg chg="del">
          <ac:chgData name="유세희(Sammy)" userId="c309e5cc-64ff-444f-8b61-2a552b0828c7" providerId="ADAL" clId="{30CB131B-2057-4224-994D-64ED7368E44E}" dt="2022-11-01T10:22:37.991" v="213" actId="478"/>
          <ac:spMkLst>
            <pc:docMk/>
            <pc:sldMk cId="2394621406" sldId="260"/>
            <ac:spMk id="51" creationId="{C2DDD8E7-4091-78A9-18D8-E35B955B840F}"/>
          </ac:spMkLst>
        </pc:spChg>
        <pc:spChg chg="del">
          <ac:chgData name="유세희(Sammy)" userId="c309e5cc-64ff-444f-8b61-2a552b0828c7" providerId="ADAL" clId="{30CB131B-2057-4224-994D-64ED7368E44E}" dt="2022-11-01T10:22:37.991" v="213" actId="478"/>
          <ac:spMkLst>
            <pc:docMk/>
            <pc:sldMk cId="2394621406" sldId="260"/>
            <ac:spMk id="52" creationId="{15C5E8F1-1F1C-D336-63B9-53231975CD4A}"/>
          </ac:spMkLst>
        </pc:spChg>
        <pc:spChg chg="del">
          <ac:chgData name="유세희(Sammy)" userId="c309e5cc-64ff-444f-8b61-2a552b0828c7" providerId="ADAL" clId="{30CB131B-2057-4224-994D-64ED7368E44E}" dt="2022-11-01T10:22:37.991" v="213" actId="478"/>
          <ac:spMkLst>
            <pc:docMk/>
            <pc:sldMk cId="2394621406" sldId="260"/>
            <ac:spMk id="53" creationId="{B18A0BA0-6565-0122-01AE-463BF8309E07}"/>
          </ac:spMkLst>
        </pc:spChg>
        <pc:spChg chg="del">
          <ac:chgData name="유세희(Sammy)" userId="c309e5cc-64ff-444f-8b61-2a552b0828c7" providerId="ADAL" clId="{30CB131B-2057-4224-994D-64ED7368E44E}" dt="2022-11-01T10:22:37.991" v="213" actId="478"/>
          <ac:spMkLst>
            <pc:docMk/>
            <pc:sldMk cId="2394621406" sldId="260"/>
            <ac:spMk id="54" creationId="{7CEA9D0C-A6A5-1757-F8F9-028C98627AF3}"/>
          </ac:spMkLst>
        </pc:spChg>
        <pc:spChg chg="del">
          <ac:chgData name="유세희(Sammy)" userId="c309e5cc-64ff-444f-8b61-2a552b0828c7" providerId="ADAL" clId="{30CB131B-2057-4224-994D-64ED7368E44E}" dt="2022-11-01T10:22:37.991" v="213" actId="478"/>
          <ac:spMkLst>
            <pc:docMk/>
            <pc:sldMk cId="2394621406" sldId="260"/>
            <ac:spMk id="55" creationId="{B8F8D14F-40F4-44AF-6090-31CDF5D6ED01}"/>
          </ac:spMkLst>
        </pc:spChg>
        <pc:spChg chg="del">
          <ac:chgData name="유세희(Sammy)" userId="c309e5cc-64ff-444f-8b61-2a552b0828c7" providerId="ADAL" clId="{30CB131B-2057-4224-994D-64ED7368E44E}" dt="2022-11-01T10:23:19.599" v="215" actId="478"/>
          <ac:spMkLst>
            <pc:docMk/>
            <pc:sldMk cId="2394621406" sldId="260"/>
            <ac:spMk id="56" creationId="{BB0D259B-43DA-ECB8-B749-20BC1B1C48D6}"/>
          </ac:spMkLst>
        </pc:spChg>
        <pc:spChg chg="del">
          <ac:chgData name="유세희(Sammy)" userId="c309e5cc-64ff-444f-8b61-2a552b0828c7" providerId="ADAL" clId="{30CB131B-2057-4224-994D-64ED7368E44E}" dt="2022-11-01T10:23:19.599" v="215" actId="478"/>
          <ac:spMkLst>
            <pc:docMk/>
            <pc:sldMk cId="2394621406" sldId="260"/>
            <ac:spMk id="57" creationId="{7EB92C65-7FB1-BE07-674D-3291E6B6AF2A}"/>
          </ac:spMkLst>
        </pc:spChg>
        <pc:spChg chg="del">
          <ac:chgData name="유세희(Sammy)" userId="c309e5cc-64ff-444f-8b61-2a552b0828c7" providerId="ADAL" clId="{30CB131B-2057-4224-994D-64ED7368E44E}" dt="2022-11-01T10:23:19.599" v="215" actId="478"/>
          <ac:spMkLst>
            <pc:docMk/>
            <pc:sldMk cId="2394621406" sldId="260"/>
            <ac:spMk id="60" creationId="{71EB83B0-5F87-42C6-7E2B-56B8B9DCEBDE}"/>
          </ac:spMkLst>
        </pc:spChg>
        <pc:spChg chg="del">
          <ac:chgData name="유세희(Sammy)" userId="c309e5cc-64ff-444f-8b61-2a552b0828c7" providerId="ADAL" clId="{30CB131B-2057-4224-994D-64ED7368E44E}" dt="2022-11-01T10:23:19.599" v="215" actId="478"/>
          <ac:spMkLst>
            <pc:docMk/>
            <pc:sldMk cId="2394621406" sldId="260"/>
            <ac:spMk id="61" creationId="{AB95CAE6-6AC1-7931-7D37-DCCDD643B282}"/>
          </ac:spMkLst>
        </pc:spChg>
        <pc:spChg chg="del">
          <ac:chgData name="유세희(Sammy)" userId="c309e5cc-64ff-444f-8b61-2a552b0828c7" providerId="ADAL" clId="{30CB131B-2057-4224-994D-64ED7368E44E}" dt="2022-11-01T10:23:19.599" v="215" actId="478"/>
          <ac:spMkLst>
            <pc:docMk/>
            <pc:sldMk cId="2394621406" sldId="260"/>
            <ac:spMk id="62" creationId="{BDDF976D-88B7-E0DA-0928-714630A6ACAB}"/>
          </ac:spMkLst>
        </pc:spChg>
        <pc:spChg chg="del">
          <ac:chgData name="유세희(Sammy)" userId="c309e5cc-64ff-444f-8b61-2a552b0828c7" providerId="ADAL" clId="{30CB131B-2057-4224-994D-64ED7368E44E}" dt="2022-11-01T10:23:19.599" v="215" actId="478"/>
          <ac:spMkLst>
            <pc:docMk/>
            <pc:sldMk cId="2394621406" sldId="260"/>
            <ac:spMk id="63" creationId="{832BE133-53E9-D1C3-6250-CC504F300828}"/>
          </ac:spMkLst>
        </pc:spChg>
        <pc:picChg chg="del">
          <ac:chgData name="유세희(Sammy)" userId="c309e5cc-64ff-444f-8b61-2a552b0828c7" providerId="ADAL" clId="{30CB131B-2057-4224-994D-64ED7368E44E}" dt="2022-11-01T10:22:37.991" v="213" actId="478"/>
          <ac:picMkLst>
            <pc:docMk/>
            <pc:sldMk cId="2394621406" sldId="260"/>
            <ac:picMk id="7" creationId="{2891760B-A97C-CD0E-9D61-840839FDDBD9}"/>
          </ac:picMkLst>
        </pc:picChg>
        <pc:picChg chg="del">
          <ac:chgData name="유세희(Sammy)" userId="c309e5cc-64ff-444f-8b61-2a552b0828c7" providerId="ADAL" clId="{30CB131B-2057-4224-994D-64ED7368E44E}" dt="2022-11-01T10:22:37.991" v="213" actId="478"/>
          <ac:picMkLst>
            <pc:docMk/>
            <pc:sldMk cId="2394621406" sldId="260"/>
            <ac:picMk id="9" creationId="{0D51847B-3865-F0E1-DD39-9CAA676E6FB3}"/>
          </ac:picMkLst>
        </pc:picChg>
        <pc:picChg chg="del">
          <ac:chgData name="유세희(Sammy)" userId="c309e5cc-64ff-444f-8b61-2a552b0828c7" providerId="ADAL" clId="{30CB131B-2057-4224-994D-64ED7368E44E}" dt="2022-11-01T10:23:19.599" v="215" actId="478"/>
          <ac:picMkLst>
            <pc:docMk/>
            <pc:sldMk cId="2394621406" sldId="260"/>
            <ac:picMk id="25" creationId="{67F9262E-FEF7-B283-A319-90F60B88E4F5}"/>
          </ac:picMkLst>
        </pc:picChg>
      </pc:sldChg>
      <pc:sldChg chg="modSp mod">
        <pc:chgData name="유세희(Sammy)" userId="c309e5cc-64ff-444f-8b61-2a552b0828c7" providerId="ADAL" clId="{30CB131B-2057-4224-994D-64ED7368E44E}" dt="2022-11-01T11:39:51.341" v="928" actId="20577"/>
        <pc:sldMkLst>
          <pc:docMk/>
          <pc:sldMk cId="3231746109" sldId="305"/>
        </pc:sldMkLst>
        <pc:spChg chg="mod">
          <ac:chgData name="유세희(Sammy)" userId="c309e5cc-64ff-444f-8b61-2a552b0828c7" providerId="ADAL" clId="{30CB131B-2057-4224-994D-64ED7368E44E}" dt="2022-11-01T11:39:51.341" v="928" actId="20577"/>
          <ac:spMkLst>
            <pc:docMk/>
            <pc:sldMk cId="3231746109" sldId="305"/>
            <ac:spMk id="13" creationId="{00000000-0000-0000-0000-000000000000}"/>
          </ac:spMkLst>
        </pc:spChg>
        <pc:spChg chg="mod">
          <ac:chgData name="유세희(Sammy)" userId="c309e5cc-64ff-444f-8b61-2a552b0828c7" providerId="ADAL" clId="{30CB131B-2057-4224-994D-64ED7368E44E}" dt="2022-11-01T11:39:47.763" v="922"/>
          <ac:spMkLst>
            <pc:docMk/>
            <pc:sldMk cId="3231746109" sldId="305"/>
            <ac:spMk id="18" creationId="{00000000-0000-0000-0000-000000000000}"/>
          </ac:spMkLst>
        </pc:spChg>
      </pc:sldChg>
      <pc:sldChg chg="delSp del mod">
        <pc:chgData name="유세희(Sammy)" userId="c309e5cc-64ff-444f-8b61-2a552b0828c7" providerId="ADAL" clId="{30CB131B-2057-4224-994D-64ED7368E44E}" dt="2022-11-01T10:23:31.948" v="221" actId="47"/>
        <pc:sldMkLst>
          <pc:docMk/>
          <pc:sldMk cId="363513140" sldId="306"/>
        </pc:sldMkLst>
        <pc:spChg chg="del">
          <ac:chgData name="유세희(Sammy)" userId="c309e5cc-64ff-444f-8b61-2a552b0828c7" providerId="ADAL" clId="{30CB131B-2057-4224-994D-64ED7368E44E}" dt="2022-11-01T10:23:26.857" v="220" actId="478"/>
          <ac:spMkLst>
            <pc:docMk/>
            <pc:sldMk cId="363513140" sldId="306"/>
            <ac:spMk id="4" creationId="{DF775253-E167-9C14-AF00-559BCB01DF5A}"/>
          </ac:spMkLst>
        </pc:spChg>
        <pc:spChg chg="del">
          <ac:chgData name="유세희(Sammy)" userId="c309e5cc-64ff-444f-8b61-2a552b0828c7" providerId="ADAL" clId="{30CB131B-2057-4224-994D-64ED7368E44E}" dt="2022-11-01T10:23:26.857" v="220" actId="478"/>
          <ac:spMkLst>
            <pc:docMk/>
            <pc:sldMk cId="363513140" sldId="306"/>
            <ac:spMk id="5" creationId="{BC57C4E9-A341-4CC8-3240-E2FA9BBA51A1}"/>
          </ac:spMkLst>
        </pc:spChg>
        <pc:spChg chg="del">
          <ac:chgData name="유세희(Sammy)" userId="c309e5cc-64ff-444f-8b61-2a552b0828c7" providerId="ADAL" clId="{30CB131B-2057-4224-994D-64ED7368E44E}" dt="2022-11-01T10:23:26.857" v="220" actId="478"/>
          <ac:spMkLst>
            <pc:docMk/>
            <pc:sldMk cId="363513140" sldId="306"/>
            <ac:spMk id="6" creationId="{E7FB76DE-186C-32CD-A4C0-5EB6017E832B}"/>
          </ac:spMkLst>
        </pc:spChg>
        <pc:picChg chg="del">
          <ac:chgData name="유세희(Sammy)" userId="c309e5cc-64ff-444f-8b61-2a552b0828c7" providerId="ADAL" clId="{30CB131B-2057-4224-994D-64ED7368E44E}" dt="2022-11-01T10:23:26.857" v="220" actId="478"/>
          <ac:picMkLst>
            <pc:docMk/>
            <pc:sldMk cId="363513140" sldId="306"/>
            <ac:picMk id="14" creationId="{CA560DF0-CCE7-84AB-DB2B-F99F514CAA9B}"/>
          </ac:picMkLst>
        </pc:picChg>
        <pc:picChg chg="del">
          <ac:chgData name="유세희(Sammy)" userId="c309e5cc-64ff-444f-8b61-2a552b0828c7" providerId="ADAL" clId="{30CB131B-2057-4224-994D-64ED7368E44E}" dt="2022-11-01T10:23:26.857" v="220" actId="478"/>
          <ac:picMkLst>
            <pc:docMk/>
            <pc:sldMk cId="363513140" sldId="306"/>
            <ac:picMk id="16" creationId="{AD2AF7F7-360A-7E4A-D827-430F9582A315}"/>
          </ac:picMkLst>
        </pc:picChg>
      </pc:sldChg>
      <pc:sldChg chg="del">
        <pc:chgData name="유세희(Sammy)" userId="c309e5cc-64ff-444f-8b61-2a552b0828c7" providerId="ADAL" clId="{30CB131B-2057-4224-994D-64ED7368E44E}" dt="2022-11-01T10:23:34.250" v="222" actId="47"/>
        <pc:sldMkLst>
          <pc:docMk/>
          <pc:sldMk cId="3519501198" sldId="307"/>
        </pc:sldMkLst>
      </pc:sldChg>
      <pc:sldChg chg="addSp delSp modSp mod">
        <pc:chgData name="유세희(Sammy)" userId="c309e5cc-64ff-444f-8b61-2a552b0828c7" providerId="ADAL" clId="{30CB131B-2057-4224-994D-64ED7368E44E}" dt="2022-11-01T11:42:34.061" v="930" actId="1362"/>
        <pc:sldMkLst>
          <pc:docMk/>
          <pc:sldMk cId="2092215359" sldId="309"/>
        </pc:sldMkLst>
        <pc:spChg chg="del">
          <ac:chgData name="유세희(Sammy)" userId="c309e5cc-64ff-444f-8b61-2a552b0828c7" providerId="ADAL" clId="{30CB131B-2057-4224-994D-64ED7368E44E}" dt="2022-11-01T10:24:13.845" v="223" actId="478"/>
          <ac:spMkLst>
            <pc:docMk/>
            <pc:sldMk cId="2092215359" sldId="309"/>
            <ac:spMk id="4" creationId="{DF775253-E167-9C14-AF00-559BCB01DF5A}"/>
          </ac:spMkLst>
        </pc:spChg>
        <pc:spChg chg="del">
          <ac:chgData name="유세희(Sammy)" userId="c309e5cc-64ff-444f-8b61-2a552b0828c7" providerId="ADAL" clId="{30CB131B-2057-4224-994D-64ED7368E44E}" dt="2022-11-01T10:24:13.845" v="223" actId="478"/>
          <ac:spMkLst>
            <pc:docMk/>
            <pc:sldMk cId="2092215359" sldId="309"/>
            <ac:spMk id="7" creationId="{62F05F41-05EF-3E2C-03AD-3187FF5964A1}"/>
          </ac:spMkLst>
        </pc:spChg>
        <pc:spChg chg="add mod">
          <ac:chgData name="유세희(Sammy)" userId="c309e5cc-64ff-444f-8b61-2a552b0828c7" providerId="ADAL" clId="{30CB131B-2057-4224-994D-64ED7368E44E}" dt="2022-11-01T11:37:51.007" v="835" actId="1076"/>
          <ac:spMkLst>
            <pc:docMk/>
            <pc:sldMk cId="2092215359" sldId="309"/>
            <ac:spMk id="9" creationId="{9DBD4C01-0413-1926-58A7-A6AA02E73A25}"/>
          </ac:spMkLst>
        </pc:spChg>
        <pc:spChg chg="mod">
          <ac:chgData name="유세희(Sammy)" userId="c309e5cc-64ff-444f-8b61-2a552b0828c7" providerId="ADAL" clId="{30CB131B-2057-4224-994D-64ED7368E44E}" dt="2022-11-01T11:34:29.818" v="800" actId="1076"/>
          <ac:spMkLst>
            <pc:docMk/>
            <pc:sldMk cId="2092215359" sldId="309"/>
            <ac:spMk id="19" creationId="{33AF3CF0-7031-758D-D8F5-935EE0FC01FD}"/>
          </ac:spMkLst>
        </pc:spChg>
        <pc:spChg chg="add mod">
          <ac:chgData name="유세희(Sammy)" userId="c309e5cc-64ff-444f-8b61-2a552b0828c7" providerId="ADAL" clId="{30CB131B-2057-4224-994D-64ED7368E44E}" dt="2022-11-01T11:39:14.624" v="888" actId="14100"/>
          <ac:spMkLst>
            <pc:docMk/>
            <pc:sldMk cId="2092215359" sldId="309"/>
            <ac:spMk id="25" creationId="{EB1A6387-4DBA-5C84-90D3-678F035CEEC7}"/>
          </ac:spMkLst>
        </pc:spChg>
        <pc:spChg chg="mod">
          <ac:chgData name="유세희(Sammy)" userId="c309e5cc-64ff-444f-8b61-2a552b0828c7" providerId="ADAL" clId="{30CB131B-2057-4224-994D-64ED7368E44E}" dt="2022-11-01T11:34:29.818" v="800" actId="1076"/>
          <ac:spMkLst>
            <pc:docMk/>
            <pc:sldMk cId="2092215359" sldId="309"/>
            <ac:spMk id="26" creationId="{1F0F269E-FC95-2EE6-E26C-9B4A2826D7F9}"/>
          </ac:spMkLst>
        </pc:spChg>
        <pc:spChg chg="mod">
          <ac:chgData name="유세희(Sammy)" userId="c309e5cc-64ff-444f-8b61-2a552b0828c7" providerId="ADAL" clId="{30CB131B-2057-4224-994D-64ED7368E44E}" dt="2022-11-01T11:34:29.818" v="800" actId="1076"/>
          <ac:spMkLst>
            <pc:docMk/>
            <pc:sldMk cId="2092215359" sldId="309"/>
            <ac:spMk id="27" creationId="{57BE7927-0EC6-107D-EE86-0ED99AF01C08}"/>
          </ac:spMkLst>
        </pc:spChg>
        <pc:spChg chg="del mod">
          <ac:chgData name="유세희(Sammy)" userId="c309e5cc-64ff-444f-8b61-2a552b0828c7" providerId="ADAL" clId="{30CB131B-2057-4224-994D-64ED7368E44E}" dt="2022-11-01T11:34:31.302" v="801" actId="478"/>
          <ac:spMkLst>
            <pc:docMk/>
            <pc:sldMk cId="2092215359" sldId="309"/>
            <ac:spMk id="31" creationId="{6CDB8D2C-CEFD-A653-5D0F-EF4CD6591C86}"/>
          </ac:spMkLst>
        </pc:spChg>
        <pc:spChg chg="del">
          <ac:chgData name="유세희(Sammy)" userId="c309e5cc-64ff-444f-8b61-2a552b0828c7" providerId="ADAL" clId="{30CB131B-2057-4224-994D-64ED7368E44E}" dt="2022-11-01T10:24:13.845" v="223" actId="478"/>
          <ac:spMkLst>
            <pc:docMk/>
            <pc:sldMk cId="2092215359" sldId="309"/>
            <ac:spMk id="35" creationId="{6AE3B0B3-8849-9715-56D6-A131DBCDBB47}"/>
          </ac:spMkLst>
        </pc:spChg>
        <pc:spChg chg="del">
          <ac:chgData name="유세희(Sammy)" userId="c309e5cc-64ff-444f-8b61-2a552b0828c7" providerId="ADAL" clId="{30CB131B-2057-4224-994D-64ED7368E44E}" dt="2022-11-01T10:24:13.845" v="223" actId="478"/>
          <ac:spMkLst>
            <pc:docMk/>
            <pc:sldMk cId="2092215359" sldId="309"/>
            <ac:spMk id="36" creationId="{CEEA2D41-AAFE-BE26-13A6-CCD76E88D2CC}"/>
          </ac:spMkLst>
        </pc:spChg>
        <pc:spChg chg="del">
          <ac:chgData name="유세희(Sammy)" userId="c309e5cc-64ff-444f-8b61-2a552b0828c7" providerId="ADAL" clId="{30CB131B-2057-4224-994D-64ED7368E44E}" dt="2022-11-01T10:24:13.845" v="223" actId="478"/>
          <ac:spMkLst>
            <pc:docMk/>
            <pc:sldMk cId="2092215359" sldId="309"/>
            <ac:spMk id="37" creationId="{8F50626B-1619-F374-6026-22CEB86F6382}"/>
          </ac:spMkLst>
        </pc:spChg>
        <pc:spChg chg="del">
          <ac:chgData name="유세희(Sammy)" userId="c309e5cc-64ff-444f-8b61-2a552b0828c7" providerId="ADAL" clId="{30CB131B-2057-4224-994D-64ED7368E44E}" dt="2022-11-01T10:24:13.845" v="223" actId="478"/>
          <ac:spMkLst>
            <pc:docMk/>
            <pc:sldMk cId="2092215359" sldId="309"/>
            <ac:spMk id="38" creationId="{0B09AF77-E4D3-760E-68EB-D06FE2878ABF}"/>
          </ac:spMkLst>
        </pc:spChg>
        <pc:spChg chg="del">
          <ac:chgData name="유세희(Sammy)" userId="c309e5cc-64ff-444f-8b61-2a552b0828c7" providerId="ADAL" clId="{30CB131B-2057-4224-994D-64ED7368E44E}" dt="2022-11-01T10:24:13.845" v="223" actId="478"/>
          <ac:spMkLst>
            <pc:docMk/>
            <pc:sldMk cId="2092215359" sldId="309"/>
            <ac:spMk id="39" creationId="{3123C7EF-22B6-8402-0D6E-0B5A449FEEA2}"/>
          </ac:spMkLst>
        </pc:spChg>
        <pc:spChg chg="mod">
          <ac:chgData name="유세희(Sammy)" userId="c309e5cc-64ff-444f-8b61-2a552b0828c7" providerId="ADAL" clId="{30CB131B-2057-4224-994D-64ED7368E44E}" dt="2022-11-01T11:34:29.818" v="800" actId="1076"/>
          <ac:spMkLst>
            <pc:docMk/>
            <pc:sldMk cId="2092215359" sldId="309"/>
            <ac:spMk id="40" creationId="{FF8A7C01-1218-4B54-1DBF-959D4E7F0D25}"/>
          </ac:spMkLst>
        </pc:spChg>
        <pc:spChg chg="mod">
          <ac:chgData name="유세희(Sammy)" userId="c309e5cc-64ff-444f-8b61-2a552b0828c7" providerId="ADAL" clId="{30CB131B-2057-4224-994D-64ED7368E44E}" dt="2022-11-01T11:34:29.818" v="800" actId="1076"/>
          <ac:spMkLst>
            <pc:docMk/>
            <pc:sldMk cId="2092215359" sldId="309"/>
            <ac:spMk id="41" creationId="{C673031F-F7C6-5A7B-6471-953AD8782A9D}"/>
          </ac:spMkLst>
        </pc:spChg>
        <pc:spChg chg="mod">
          <ac:chgData name="유세희(Sammy)" userId="c309e5cc-64ff-444f-8b61-2a552b0828c7" providerId="ADAL" clId="{30CB131B-2057-4224-994D-64ED7368E44E}" dt="2022-11-01T11:34:29.818" v="800" actId="1076"/>
          <ac:spMkLst>
            <pc:docMk/>
            <pc:sldMk cId="2092215359" sldId="309"/>
            <ac:spMk id="42" creationId="{C13575BA-F062-C0DA-90EE-0BEB1A11F010}"/>
          </ac:spMkLst>
        </pc:spChg>
        <pc:spChg chg="mod">
          <ac:chgData name="유세희(Sammy)" userId="c309e5cc-64ff-444f-8b61-2a552b0828c7" providerId="ADAL" clId="{30CB131B-2057-4224-994D-64ED7368E44E}" dt="2022-11-01T11:34:29.818" v="800" actId="1076"/>
          <ac:spMkLst>
            <pc:docMk/>
            <pc:sldMk cId="2092215359" sldId="309"/>
            <ac:spMk id="43" creationId="{2CE90A4F-FD69-E95D-A14F-FB2CCE4B31CA}"/>
          </ac:spMkLst>
        </pc:spChg>
        <pc:grpChg chg="add del mod">
          <ac:chgData name="유세희(Sammy)" userId="c309e5cc-64ff-444f-8b61-2a552b0828c7" providerId="ADAL" clId="{30CB131B-2057-4224-994D-64ED7368E44E}" dt="2022-11-01T11:38:48.411" v="850" actId="478"/>
          <ac:grpSpMkLst>
            <pc:docMk/>
            <pc:sldMk cId="2092215359" sldId="309"/>
            <ac:grpSpMk id="13" creationId="{F70E67C0-172C-047D-CE0E-429DF1068456}"/>
          </ac:grpSpMkLst>
        </pc:grpChg>
        <pc:grpChg chg="add mod ord">
          <ac:chgData name="유세희(Sammy)" userId="c309e5cc-64ff-444f-8b61-2a552b0828c7" providerId="ADAL" clId="{30CB131B-2057-4224-994D-64ED7368E44E}" dt="2022-11-01T11:38:53.402" v="853" actId="167"/>
          <ac:grpSpMkLst>
            <pc:docMk/>
            <pc:sldMk cId="2092215359" sldId="309"/>
            <ac:grpSpMk id="24" creationId="{5A59356C-B150-1B10-009E-3EB475EFAF52}"/>
          </ac:grpSpMkLst>
        </pc:grpChg>
        <pc:graphicFrameChg chg="del">
          <ac:chgData name="유세희(Sammy)" userId="c309e5cc-64ff-444f-8b61-2a552b0828c7" providerId="ADAL" clId="{30CB131B-2057-4224-994D-64ED7368E44E}" dt="2022-11-01T10:24:13.845" v="223" actId="478"/>
          <ac:graphicFrameMkLst>
            <pc:docMk/>
            <pc:sldMk cId="2092215359" sldId="309"/>
            <ac:graphicFrameMk id="5" creationId="{A0DA50D6-6110-EAA1-0C7D-41B644A794A3}"/>
          </ac:graphicFrameMkLst>
        </pc:graphicFrameChg>
        <pc:graphicFrameChg chg="del">
          <ac:chgData name="유세희(Sammy)" userId="c309e5cc-64ff-444f-8b61-2a552b0828c7" providerId="ADAL" clId="{30CB131B-2057-4224-994D-64ED7368E44E}" dt="2022-11-01T10:24:13.845" v="223" actId="478"/>
          <ac:graphicFrameMkLst>
            <pc:docMk/>
            <pc:sldMk cId="2092215359" sldId="309"/>
            <ac:graphicFrameMk id="17" creationId="{2FBB9C43-C300-4F89-29C3-516F75BC14C2}"/>
          </ac:graphicFrameMkLst>
        </pc:graphicFrameChg>
        <pc:picChg chg="add mod modCrop">
          <ac:chgData name="유세희(Sammy)" userId="c309e5cc-64ff-444f-8b61-2a552b0828c7" providerId="ADAL" clId="{30CB131B-2057-4224-994D-64ED7368E44E}" dt="2022-11-01T11:39:05.206" v="858" actId="732"/>
          <ac:picMkLst>
            <pc:docMk/>
            <pc:sldMk cId="2092215359" sldId="309"/>
            <ac:picMk id="8" creationId="{0E47F1DF-273D-AFD7-93D0-B3F2B04DEA1B}"/>
          </ac:picMkLst>
        </pc:picChg>
        <pc:picChg chg="del">
          <ac:chgData name="유세희(Sammy)" userId="c309e5cc-64ff-444f-8b61-2a552b0828c7" providerId="ADAL" clId="{30CB131B-2057-4224-994D-64ED7368E44E}" dt="2022-11-01T10:24:13.845" v="223" actId="478"/>
          <ac:picMkLst>
            <pc:docMk/>
            <pc:sldMk cId="2092215359" sldId="309"/>
            <ac:picMk id="10" creationId="{281E6467-4F0F-984D-51D8-A2E54054E7E0}"/>
          </ac:picMkLst>
        </pc:picChg>
        <pc:picChg chg="add mod">
          <ac:chgData name="유세희(Sammy)" userId="c309e5cc-64ff-444f-8b61-2a552b0828c7" providerId="ADAL" clId="{30CB131B-2057-4224-994D-64ED7368E44E}" dt="2022-11-01T11:38:00.295" v="837" actId="164"/>
          <ac:picMkLst>
            <pc:docMk/>
            <pc:sldMk cId="2092215359" sldId="309"/>
            <ac:picMk id="11" creationId="{04FADC77-3BDA-D075-2272-FCD989F180DA}"/>
          </ac:picMkLst>
        </pc:picChg>
        <pc:picChg chg="add mod">
          <ac:chgData name="유세희(Sammy)" userId="c309e5cc-64ff-444f-8b61-2a552b0828c7" providerId="ADAL" clId="{30CB131B-2057-4224-994D-64ED7368E44E}" dt="2022-11-01T11:38:00.295" v="837" actId="164"/>
          <ac:picMkLst>
            <pc:docMk/>
            <pc:sldMk cId="2092215359" sldId="309"/>
            <ac:picMk id="12" creationId="{BD9EE242-7E8E-A8D2-C2BB-C2B7425E3FC6}"/>
          </ac:picMkLst>
        </pc:picChg>
        <pc:picChg chg="add mod">
          <ac:chgData name="유세희(Sammy)" userId="c309e5cc-64ff-444f-8b61-2a552b0828c7" providerId="ADAL" clId="{30CB131B-2057-4224-994D-64ED7368E44E}" dt="2022-11-01T11:42:34.061" v="930" actId="1362"/>
          <ac:picMkLst>
            <pc:docMk/>
            <pc:sldMk cId="2092215359" sldId="309"/>
            <ac:picMk id="15" creationId="{DA60EEC3-CDB1-A075-6FD0-6F3A31147E1D}"/>
          </ac:picMkLst>
        </pc:picChg>
        <pc:picChg chg="add mod">
          <ac:chgData name="유세희(Sammy)" userId="c309e5cc-64ff-444f-8b61-2a552b0828c7" providerId="ADAL" clId="{30CB131B-2057-4224-994D-64ED7368E44E}" dt="2022-11-01T11:38:50.727" v="851" actId="164"/>
          <ac:picMkLst>
            <pc:docMk/>
            <pc:sldMk cId="2092215359" sldId="309"/>
            <ac:picMk id="16" creationId="{D6CF9D3A-42A9-5040-0163-53A28209C322}"/>
          </ac:picMkLst>
        </pc:picChg>
        <pc:picChg chg="mod">
          <ac:chgData name="유세희(Sammy)" userId="c309e5cc-64ff-444f-8b61-2a552b0828c7" providerId="ADAL" clId="{30CB131B-2057-4224-994D-64ED7368E44E}" dt="2022-11-01T11:34:29.818" v="800" actId="1076"/>
          <ac:picMkLst>
            <pc:docMk/>
            <pc:sldMk cId="2092215359" sldId="309"/>
            <ac:picMk id="18" creationId="{6782DC41-4612-459A-EE8E-B00C2DADC2F5}"/>
          </ac:picMkLst>
        </pc:picChg>
      </pc:sldChg>
      <pc:sldChg chg="del">
        <pc:chgData name="유세희(Sammy)" userId="c309e5cc-64ff-444f-8b61-2a552b0828c7" providerId="ADAL" clId="{30CB131B-2057-4224-994D-64ED7368E44E}" dt="2022-11-01T11:34:24.856" v="799" actId="47"/>
        <pc:sldMkLst>
          <pc:docMk/>
          <pc:sldMk cId="1837765115" sldId="311"/>
        </pc:sldMkLst>
      </pc:sldChg>
      <pc:sldChg chg="del">
        <pc:chgData name="유세희(Sammy)" userId="c309e5cc-64ff-444f-8b61-2a552b0828c7" providerId="ADAL" clId="{30CB131B-2057-4224-994D-64ED7368E44E}" dt="2022-11-01T11:39:36.377" v="889" actId="18676"/>
        <pc:sldMkLst>
          <pc:docMk/>
          <pc:sldMk cId="2010713303" sldId="312"/>
        </pc:sldMkLst>
      </pc:sldChg>
      <pc:sldChg chg="del">
        <pc:chgData name="유세희(Sammy)" userId="c309e5cc-64ff-444f-8b61-2a552b0828c7" providerId="ADAL" clId="{30CB131B-2057-4224-994D-64ED7368E44E}" dt="2022-11-01T11:39:36.377" v="889" actId="18676"/>
        <pc:sldMkLst>
          <pc:docMk/>
          <pc:sldMk cId="3372706341" sldId="313"/>
        </pc:sldMkLst>
      </pc:sldChg>
      <pc:sldChg chg="del">
        <pc:chgData name="유세희(Sammy)" userId="c309e5cc-64ff-444f-8b61-2a552b0828c7" providerId="ADAL" clId="{30CB131B-2057-4224-994D-64ED7368E44E}" dt="2022-11-01T11:39:36.377" v="889" actId="18676"/>
        <pc:sldMkLst>
          <pc:docMk/>
          <pc:sldMk cId="1667707360" sldId="314"/>
        </pc:sldMkLst>
      </pc:sldChg>
      <pc:sldChg chg="del">
        <pc:chgData name="유세희(Sammy)" userId="c309e5cc-64ff-444f-8b61-2a552b0828c7" providerId="ADAL" clId="{30CB131B-2057-4224-994D-64ED7368E44E}" dt="2022-11-01T11:39:36.377" v="889" actId="18676"/>
        <pc:sldMkLst>
          <pc:docMk/>
          <pc:sldMk cId="4286268136" sldId="315"/>
        </pc:sldMkLst>
      </pc:sldChg>
      <pc:sldChg chg="del">
        <pc:chgData name="유세희(Sammy)" userId="c309e5cc-64ff-444f-8b61-2a552b0828c7" providerId="ADAL" clId="{30CB131B-2057-4224-994D-64ED7368E44E}" dt="2022-11-01T11:39:36.377" v="889" actId="18676"/>
        <pc:sldMkLst>
          <pc:docMk/>
          <pc:sldMk cId="2819977890" sldId="316"/>
        </pc:sldMkLst>
      </pc:sldChg>
      <pc:sldChg chg="del">
        <pc:chgData name="유세희(Sammy)" userId="c309e5cc-64ff-444f-8b61-2a552b0828c7" providerId="ADAL" clId="{30CB131B-2057-4224-994D-64ED7368E44E}" dt="2022-11-01T11:39:36.377" v="889" actId="18676"/>
        <pc:sldMkLst>
          <pc:docMk/>
          <pc:sldMk cId="76409018" sldId="317"/>
        </pc:sldMkLst>
      </pc:sldChg>
      <pc:sldChg chg="del">
        <pc:chgData name="유세희(Sammy)" userId="c309e5cc-64ff-444f-8b61-2a552b0828c7" providerId="ADAL" clId="{30CB131B-2057-4224-994D-64ED7368E44E}" dt="2022-11-01T11:39:36.377" v="889" actId="18676"/>
        <pc:sldMkLst>
          <pc:docMk/>
          <pc:sldMk cId="4260268070" sldId="318"/>
        </pc:sldMkLst>
      </pc:sldChg>
      <pc:sldChg chg="del">
        <pc:chgData name="유세희(Sammy)" userId="c309e5cc-64ff-444f-8b61-2a552b0828c7" providerId="ADAL" clId="{30CB131B-2057-4224-994D-64ED7368E44E}" dt="2022-11-01T11:39:36.377" v="889" actId="18676"/>
        <pc:sldMkLst>
          <pc:docMk/>
          <pc:sldMk cId="4040153095" sldId="320"/>
        </pc:sldMkLst>
      </pc:sldChg>
      <pc:sldChg chg="del">
        <pc:chgData name="유세희(Sammy)" userId="c309e5cc-64ff-444f-8b61-2a552b0828c7" providerId="ADAL" clId="{30CB131B-2057-4224-994D-64ED7368E44E}" dt="2022-11-01T11:39:36.377" v="889" actId="18676"/>
        <pc:sldMkLst>
          <pc:docMk/>
          <pc:sldMk cId="3718844619" sldId="321"/>
        </pc:sldMkLst>
      </pc:sldChg>
      <pc:sldChg chg="del">
        <pc:chgData name="유세희(Sammy)" userId="c309e5cc-64ff-444f-8b61-2a552b0828c7" providerId="ADAL" clId="{30CB131B-2057-4224-994D-64ED7368E44E}" dt="2022-11-01T11:39:36.377" v="889" actId="18676"/>
        <pc:sldMkLst>
          <pc:docMk/>
          <pc:sldMk cId="2454798189" sldId="322"/>
        </pc:sldMkLst>
      </pc:sldChg>
      <pc:sldChg chg="addSp delSp modSp new mod">
        <pc:chgData name="유세희(Sammy)" userId="c309e5cc-64ff-444f-8b61-2a552b0828c7" providerId="ADAL" clId="{30CB131B-2057-4224-994D-64ED7368E44E}" dt="2022-11-01T10:39:22.590" v="537" actId="14100"/>
        <pc:sldMkLst>
          <pc:docMk/>
          <pc:sldMk cId="1906387086" sldId="323"/>
        </pc:sldMkLst>
        <pc:spChg chg="del">
          <ac:chgData name="유세희(Sammy)" userId="c309e5cc-64ff-444f-8b61-2a552b0828c7" providerId="ADAL" clId="{30CB131B-2057-4224-994D-64ED7368E44E}" dt="2022-11-01T10:24:20.650" v="225" actId="478"/>
          <ac:spMkLst>
            <pc:docMk/>
            <pc:sldMk cId="1906387086" sldId="323"/>
            <ac:spMk id="2" creationId="{85DCC7FB-E3BB-F0C3-2605-8D60B01B55AF}"/>
          </ac:spMkLst>
        </pc:spChg>
        <pc:spChg chg="del">
          <ac:chgData name="유세희(Sammy)" userId="c309e5cc-64ff-444f-8b61-2a552b0828c7" providerId="ADAL" clId="{30CB131B-2057-4224-994D-64ED7368E44E}" dt="2022-11-01T10:24:20.650" v="225" actId="478"/>
          <ac:spMkLst>
            <pc:docMk/>
            <pc:sldMk cId="1906387086" sldId="323"/>
            <ac:spMk id="3" creationId="{CBE84BEA-9ABA-E619-F5FF-87C56493F526}"/>
          </ac:spMkLst>
        </pc:spChg>
        <pc:spChg chg="add mod">
          <ac:chgData name="유세희(Sammy)" userId="c309e5cc-64ff-444f-8b61-2a552b0828c7" providerId="ADAL" clId="{30CB131B-2057-4224-994D-64ED7368E44E}" dt="2022-11-01T10:25:55.476" v="229"/>
          <ac:spMkLst>
            <pc:docMk/>
            <pc:sldMk cId="1906387086" sldId="323"/>
            <ac:spMk id="6" creationId="{3DFDC5D9-4963-8747-E6A4-D29559CFABEB}"/>
          </ac:spMkLst>
        </pc:spChg>
        <pc:spChg chg="add mod">
          <ac:chgData name="유세희(Sammy)" userId="c309e5cc-64ff-444f-8b61-2a552b0828c7" providerId="ADAL" clId="{30CB131B-2057-4224-994D-64ED7368E44E}" dt="2022-11-01T10:26:00.688" v="241" actId="20577"/>
          <ac:spMkLst>
            <pc:docMk/>
            <pc:sldMk cId="1906387086" sldId="323"/>
            <ac:spMk id="7" creationId="{7456DB45-C448-5476-60BD-58442133149C}"/>
          </ac:spMkLst>
        </pc:spChg>
        <pc:spChg chg="add mod">
          <ac:chgData name="유세희(Sammy)" userId="c309e5cc-64ff-444f-8b61-2a552b0828c7" providerId="ADAL" clId="{30CB131B-2057-4224-994D-64ED7368E44E}" dt="2022-11-01T10:39:09.958" v="533" actId="1076"/>
          <ac:spMkLst>
            <pc:docMk/>
            <pc:sldMk cId="1906387086" sldId="323"/>
            <ac:spMk id="11" creationId="{6FD758A9-B4AF-4412-F064-B077A3941370}"/>
          </ac:spMkLst>
        </pc:spChg>
        <pc:spChg chg="add del mod">
          <ac:chgData name="유세희(Sammy)" userId="c309e5cc-64ff-444f-8b61-2a552b0828c7" providerId="ADAL" clId="{30CB131B-2057-4224-994D-64ED7368E44E}" dt="2022-11-01T10:39:05.237" v="531" actId="478"/>
          <ac:spMkLst>
            <pc:docMk/>
            <pc:sldMk cId="1906387086" sldId="323"/>
            <ac:spMk id="13" creationId="{41C036E1-5BBC-615D-4D8C-ACAC5A21906F}"/>
          </ac:spMkLst>
        </pc:spChg>
        <pc:spChg chg="add mod">
          <ac:chgData name="유세희(Sammy)" userId="c309e5cc-64ff-444f-8b61-2a552b0828c7" providerId="ADAL" clId="{30CB131B-2057-4224-994D-64ED7368E44E}" dt="2022-11-01T10:39:16.625" v="535" actId="403"/>
          <ac:spMkLst>
            <pc:docMk/>
            <pc:sldMk cId="1906387086" sldId="323"/>
            <ac:spMk id="26" creationId="{70B819C0-A8AE-2B23-B67F-FA73A6AAF6AB}"/>
          </ac:spMkLst>
        </pc:spChg>
        <pc:spChg chg="add mod">
          <ac:chgData name="유세희(Sammy)" userId="c309e5cc-64ff-444f-8b61-2a552b0828c7" providerId="ADAL" clId="{30CB131B-2057-4224-994D-64ED7368E44E}" dt="2022-11-01T10:39:22.590" v="537" actId="14100"/>
          <ac:spMkLst>
            <pc:docMk/>
            <pc:sldMk cId="1906387086" sldId="323"/>
            <ac:spMk id="30" creationId="{21177A40-03B7-38F4-CF3E-4191A67AF276}"/>
          </ac:spMkLst>
        </pc:spChg>
        <pc:spChg chg="add mod">
          <ac:chgData name="유세희(Sammy)" userId="c309e5cc-64ff-444f-8b61-2a552b0828c7" providerId="ADAL" clId="{30CB131B-2057-4224-994D-64ED7368E44E}" dt="2022-11-01T10:39:16.625" v="535" actId="403"/>
          <ac:spMkLst>
            <pc:docMk/>
            <pc:sldMk cId="1906387086" sldId="323"/>
            <ac:spMk id="1024" creationId="{B2B65631-33F7-7101-A437-D7657757E4EB}"/>
          </ac:spMkLst>
        </pc:spChg>
        <pc:spChg chg="add mod">
          <ac:chgData name="유세희(Sammy)" userId="c309e5cc-64ff-444f-8b61-2a552b0828c7" providerId="ADAL" clId="{30CB131B-2057-4224-994D-64ED7368E44E}" dt="2022-11-01T10:39:16.625" v="535" actId="403"/>
          <ac:spMkLst>
            <pc:docMk/>
            <pc:sldMk cId="1906387086" sldId="323"/>
            <ac:spMk id="1029" creationId="{3A079347-AAE1-9CDA-14CD-698362DF7F82}"/>
          </ac:spMkLst>
        </pc:spChg>
        <pc:grpChg chg="add mod">
          <ac:chgData name="유세희(Sammy)" userId="c309e5cc-64ff-444f-8b61-2a552b0828c7" providerId="ADAL" clId="{30CB131B-2057-4224-994D-64ED7368E44E}" dt="2022-11-01T10:39:06.806" v="532" actId="1076"/>
          <ac:grpSpMkLst>
            <pc:docMk/>
            <pc:sldMk cId="1906387086" sldId="323"/>
            <ac:grpSpMk id="1031" creationId="{C1EC44BA-6684-EA5F-0564-30B75DC79AB6}"/>
          </ac:grpSpMkLst>
        </pc:grpChg>
        <pc:picChg chg="add mod ord modCrop">
          <ac:chgData name="유세희(Sammy)" userId="c309e5cc-64ff-444f-8b61-2a552b0828c7" providerId="ADAL" clId="{30CB131B-2057-4224-994D-64ED7368E44E}" dt="2022-11-01T10:39:06.806" v="532" actId="1076"/>
          <ac:picMkLst>
            <pc:docMk/>
            <pc:sldMk cId="1906387086" sldId="323"/>
            <ac:picMk id="5" creationId="{01E1E2DD-4E7C-1410-F794-D512754E37C2}"/>
          </ac:picMkLst>
        </pc:picChg>
        <pc:picChg chg="add mod modCrop">
          <ac:chgData name="유세희(Sammy)" userId="c309e5cc-64ff-444f-8b61-2a552b0828c7" providerId="ADAL" clId="{30CB131B-2057-4224-994D-64ED7368E44E}" dt="2022-11-01T10:39:06.806" v="532" actId="1076"/>
          <ac:picMkLst>
            <pc:docMk/>
            <pc:sldMk cId="1906387086" sldId="323"/>
            <ac:picMk id="8" creationId="{304ED5ED-F11C-EDC6-7943-206BD63F1BC5}"/>
          </ac:picMkLst>
        </pc:picChg>
        <pc:picChg chg="add del mod modCrop">
          <ac:chgData name="유세희(Sammy)" userId="c309e5cc-64ff-444f-8b61-2a552b0828c7" providerId="ADAL" clId="{30CB131B-2057-4224-994D-64ED7368E44E}" dt="2022-11-01T10:38:59.017" v="528" actId="478"/>
          <ac:picMkLst>
            <pc:docMk/>
            <pc:sldMk cId="1906387086" sldId="323"/>
            <ac:picMk id="9" creationId="{C33C1263-B0EF-6A0B-C5F6-EA477ED360C9}"/>
          </ac:picMkLst>
        </pc:picChg>
        <pc:picChg chg="add del mod">
          <ac:chgData name="유세희(Sammy)" userId="c309e5cc-64ff-444f-8b61-2a552b0828c7" providerId="ADAL" clId="{30CB131B-2057-4224-994D-64ED7368E44E}" dt="2022-11-01T10:29:30.593" v="277" actId="478"/>
          <ac:picMkLst>
            <pc:docMk/>
            <pc:sldMk cId="1906387086" sldId="323"/>
            <ac:picMk id="15" creationId="{A40CD7B6-9B34-805A-640D-D23C1403A66F}"/>
          </ac:picMkLst>
        </pc:picChg>
        <pc:picChg chg="add mod modCrop">
          <ac:chgData name="유세희(Sammy)" userId="c309e5cc-64ff-444f-8b61-2a552b0828c7" providerId="ADAL" clId="{30CB131B-2057-4224-994D-64ED7368E44E}" dt="2022-11-01T10:39:06.806" v="532" actId="1076"/>
          <ac:picMkLst>
            <pc:docMk/>
            <pc:sldMk cId="1906387086" sldId="323"/>
            <ac:picMk id="17" creationId="{31173E1D-2A0B-12AB-4F2E-7799A3072653}"/>
          </ac:picMkLst>
        </pc:picChg>
        <pc:picChg chg="add mod modCrop">
          <ac:chgData name="유세희(Sammy)" userId="c309e5cc-64ff-444f-8b61-2a552b0828c7" providerId="ADAL" clId="{30CB131B-2057-4224-994D-64ED7368E44E}" dt="2022-11-01T10:39:06.806" v="532" actId="1076"/>
          <ac:picMkLst>
            <pc:docMk/>
            <pc:sldMk cId="1906387086" sldId="323"/>
            <ac:picMk id="18" creationId="{3A8A4E22-F2D0-B0BF-742E-7B100BD36103}"/>
          </ac:picMkLst>
        </pc:picChg>
        <pc:picChg chg="add mod">
          <ac:chgData name="유세희(Sammy)" userId="c309e5cc-64ff-444f-8b61-2a552b0828c7" providerId="ADAL" clId="{30CB131B-2057-4224-994D-64ED7368E44E}" dt="2022-11-01T10:39:06.806" v="532" actId="1076"/>
          <ac:picMkLst>
            <pc:docMk/>
            <pc:sldMk cId="1906387086" sldId="323"/>
            <ac:picMk id="29" creationId="{D1EF6627-395C-BC7B-D119-EA5635CD31E6}"/>
          </ac:picMkLst>
        </pc:picChg>
        <pc:picChg chg="add mod ord modCrop">
          <ac:chgData name="유세희(Sammy)" userId="c309e5cc-64ff-444f-8b61-2a552b0828c7" providerId="ADAL" clId="{30CB131B-2057-4224-994D-64ED7368E44E}" dt="2022-11-01T10:39:06.806" v="532" actId="1076"/>
          <ac:picMkLst>
            <pc:docMk/>
            <pc:sldMk cId="1906387086" sldId="323"/>
            <ac:picMk id="31" creationId="{3337E123-0CA6-C1CD-C76D-06E7D46D41F3}"/>
          </ac:picMkLst>
        </pc:picChg>
        <pc:picChg chg="add del mod">
          <ac:chgData name="유세희(Sammy)" userId="c309e5cc-64ff-444f-8b61-2a552b0828c7" providerId="ADAL" clId="{30CB131B-2057-4224-994D-64ED7368E44E}" dt="2022-11-01T10:36:42.609" v="450" actId="478"/>
          <ac:picMkLst>
            <pc:docMk/>
            <pc:sldMk cId="1906387086" sldId="323"/>
            <ac:picMk id="1025" creationId="{927E6EBC-873C-AC4A-CE02-A31B21CD8AFD}"/>
          </ac:picMkLst>
        </pc:picChg>
        <pc:picChg chg="add del mod">
          <ac:chgData name="유세희(Sammy)" userId="c309e5cc-64ff-444f-8b61-2a552b0828c7" providerId="ADAL" clId="{30CB131B-2057-4224-994D-64ED7368E44E}" dt="2022-11-01T10:38:37.958" v="521" actId="478"/>
          <ac:picMkLst>
            <pc:docMk/>
            <pc:sldMk cId="1906387086" sldId="323"/>
            <ac:picMk id="1026" creationId="{87510AAD-FDCA-33ED-6D85-F6B896916DBC}"/>
          </ac:picMkLst>
        </pc:picChg>
        <pc:picChg chg="add del mod">
          <ac:chgData name="유세희(Sammy)" userId="c309e5cc-64ff-444f-8b61-2a552b0828c7" providerId="ADAL" clId="{30CB131B-2057-4224-994D-64ED7368E44E}" dt="2022-11-01T10:36:52.280" v="452" actId="478"/>
          <ac:picMkLst>
            <pc:docMk/>
            <pc:sldMk cId="1906387086" sldId="323"/>
            <ac:picMk id="1027" creationId="{AF62EF74-0A2E-980A-C58C-D2BBE473E86F}"/>
          </ac:picMkLst>
        </pc:picChg>
        <pc:picChg chg="add del mod">
          <ac:chgData name="유세희(Sammy)" userId="c309e5cc-64ff-444f-8b61-2a552b0828c7" providerId="ADAL" clId="{30CB131B-2057-4224-994D-64ED7368E44E}" dt="2022-11-01T10:37:20.760" v="459" actId="478"/>
          <ac:picMkLst>
            <pc:docMk/>
            <pc:sldMk cId="1906387086" sldId="323"/>
            <ac:picMk id="1028" creationId="{48B80FDC-8F8B-144D-3237-8213737972FC}"/>
          </ac:picMkLst>
        </pc:picChg>
        <pc:picChg chg="add mod">
          <ac:chgData name="유세희(Sammy)" userId="c309e5cc-64ff-444f-8b61-2a552b0828c7" providerId="ADAL" clId="{30CB131B-2057-4224-994D-64ED7368E44E}" dt="2022-11-01T10:39:06.806" v="532" actId="1076"/>
          <ac:picMkLst>
            <pc:docMk/>
            <pc:sldMk cId="1906387086" sldId="323"/>
            <ac:picMk id="1030" creationId="{B1C50C3D-AABD-2D31-8F0F-1F812418EDE6}"/>
          </ac:picMkLst>
        </pc:picChg>
        <pc:cxnChg chg="add del">
          <ac:chgData name="유세희(Sammy)" userId="c309e5cc-64ff-444f-8b61-2a552b0828c7" providerId="ADAL" clId="{30CB131B-2057-4224-994D-64ED7368E44E}" dt="2022-11-01T10:31:13.752" v="295" actId="478"/>
          <ac:cxnSpMkLst>
            <pc:docMk/>
            <pc:sldMk cId="1906387086" sldId="323"/>
            <ac:cxnSpMk id="20" creationId="{24A2A576-9AD3-A11C-5782-DE495DADD952}"/>
          </ac:cxnSpMkLst>
        </pc:cxnChg>
        <pc:cxnChg chg="add del mod">
          <ac:chgData name="유세희(Sammy)" userId="c309e5cc-64ff-444f-8b61-2a552b0828c7" providerId="ADAL" clId="{30CB131B-2057-4224-994D-64ED7368E44E}" dt="2022-11-01T10:31:13.752" v="295" actId="478"/>
          <ac:cxnSpMkLst>
            <pc:docMk/>
            <pc:sldMk cId="1906387086" sldId="323"/>
            <ac:cxnSpMk id="21" creationId="{D2E2C816-118A-7C13-E27C-CD115F351D11}"/>
          </ac:cxnSpMkLst>
        </pc:cxnChg>
        <pc:cxnChg chg="add mod">
          <ac:chgData name="유세희(Sammy)" userId="c309e5cc-64ff-444f-8b61-2a552b0828c7" providerId="ADAL" clId="{30CB131B-2057-4224-994D-64ED7368E44E}" dt="2022-11-01T10:39:06.806" v="532" actId="1076"/>
          <ac:cxnSpMkLst>
            <pc:docMk/>
            <pc:sldMk cId="1906387086" sldId="323"/>
            <ac:cxnSpMk id="23" creationId="{658A5F33-EF1B-E326-213C-F4F57364AA36}"/>
          </ac:cxnSpMkLst>
        </pc:cxnChg>
        <pc:cxnChg chg="add mod">
          <ac:chgData name="유세희(Sammy)" userId="c309e5cc-64ff-444f-8b61-2a552b0828c7" providerId="ADAL" clId="{30CB131B-2057-4224-994D-64ED7368E44E}" dt="2022-11-01T10:39:06.806" v="532" actId="1076"/>
          <ac:cxnSpMkLst>
            <pc:docMk/>
            <pc:sldMk cId="1906387086" sldId="323"/>
            <ac:cxnSpMk id="27" creationId="{D3ECCE9B-5DA2-9259-8D06-63026351A006}"/>
          </ac:cxnSpMkLst>
        </pc:cxnChg>
      </pc:sldChg>
      <pc:sldChg chg="addSp delSp modSp add mod">
        <pc:chgData name="유세희(Sammy)" userId="c309e5cc-64ff-444f-8b61-2a552b0828c7" providerId="ADAL" clId="{30CB131B-2057-4224-994D-64ED7368E44E}" dt="2022-11-01T11:34:14.239" v="798" actId="20577"/>
        <pc:sldMkLst>
          <pc:docMk/>
          <pc:sldMk cId="183421795" sldId="324"/>
        </pc:sldMkLst>
        <pc:spChg chg="mod topLvl">
          <ac:chgData name="유세희(Sammy)" userId="c309e5cc-64ff-444f-8b61-2a552b0828c7" providerId="ADAL" clId="{30CB131B-2057-4224-994D-64ED7368E44E}" dt="2022-11-01T10:44:58.534" v="710" actId="1076"/>
          <ac:spMkLst>
            <pc:docMk/>
            <pc:sldMk cId="183421795" sldId="324"/>
            <ac:spMk id="14" creationId="{212BDA4D-68B6-99FD-2798-0B2B0EA24CD4}"/>
          </ac:spMkLst>
        </pc:spChg>
        <pc:spChg chg="mod topLvl">
          <ac:chgData name="유세희(Sammy)" userId="c309e5cc-64ff-444f-8b61-2a552b0828c7" providerId="ADAL" clId="{30CB131B-2057-4224-994D-64ED7368E44E}" dt="2022-11-01T10:44:15.395" v="706" actId="1076"/>
          <ac:spMkLst>
            <pc:docMk/>
            <pc:sldMk cId="183421795" sldId="324"/>
            <ac:spMk id="20" creationId="{FEB0C1B3-39D9-34C0-D5FC-90ACACE81A2B}"/>
          </ac:spMkLst>
        </pc:spChg>
        <pc:spChg chg="del mod topLvl">
          <ac:chgData name="유세희(Sammy)" userId="c309e5cc-64ff-444f-8b61-2a552b0828c7" providerId="ADAL" clId="{30CB131B-2057-4224-994D-64ED7368E44E}" dt="2022-11-01T10:43:51.596" v="693" actId="478"/>
          <ac:spMkLst>
            <pc:docMk/>
            <pc:sldMk cId="183421795" sldId="324"/>
            <ac:spMk id="24" creationId="{32825E2F-BE0A-2A3F-D6AD-AA6F66EB23C5}"/>
          </ac:spMkLst>
        </pc:spChg>
        <pc:spChg chg="del mod topLvl">
          <ac:chgData name="유세희(Sammy)" userId="c309e5cc-64ff-444f-8b61-2a552b0828c7" providerId="ADAL" clId="{30CB131B-2057-4224-994D-64ED7368E44E}" dt="2022-11-01T10:43:59.371" v="698" actId="478"/>
          <ac:spMkLst>
            <pc:docMk/>
            <pc:sldMk cId="183421795" sldId="324"/>
            <ac:spMk id="25" creationId="{4A728F59-3721-EAD0-834F-AD00B7095241}"/>
          </ac:spMkLst>
        </pc:spChg>
        <pc:spChg chg="mod topLvl">
          <ac:chgData name="유세희(Sammy)" userId="c309e5cc-64ff-444f-8b61-2a552b0828c7" providerId="ADAL" clId="{30CB131B-2057-4224-994D-64ED7368E44E}" dt="2022-11-01T11:34:14.239" v="798" actId="20577"/>
          <ac:spMkLst>
            <pc:docMk/>
            <pc:sldMk cId="183421795" sldId="324"/>
            <ac:spMk id="1025" creationId="{AF9ACF01-F58B-1D9B-2DA4-3DA30B0A61A5}"/>
          </ac:spMkLst>
        </pc:spChg>
        <pc:spChg chg="mod">
          <ac:chgData name="유세희(Sammy)" userId="c309e5cc-64ff-444f-8b61-2a552b0828c7" providerId="ADAL" clId="{30CB131B-2057-4224-994D-64ED7368E44E}" dt="2022-11-01T10:40:51.024" v="544"/>
          <ac:spMkLst>
            <pc:docMk/>
            <pc:sldMk cId="183421795" sldId="324"/>
            <ac:spMk id="1033" creationId="{62781BDD-3A25-D5C2-DCB3-14DCB3D5616D}"/>
          </ac:spMkLst>
        </pc:spChg>
        <pc:spChg chg="mod">
          <ac:chgData name="유세희(Sammy)" userId="c309e5cc-64ff-444f-8b61-2a552b0828c7" providerId="ADAL" clId="{30CB131B-2057-4224-994D-64ED7368E44E}" dt="2022-11-01T10:40:51.024" v="544"/>
          <ac:spMkLst>
            <pc:docMk/>
            <pc:sldMk cId="183421795" sldId="324"/>
            <ac:spMk id="1037" creationId="{72C8BB0C-A3BF-F7D7-CCF9-972366D57C2B}"/>
          </ac:spMkLst>
        </pc:spChg>
        <pc:spChg chg="mod">
          <ac:chgData name="유세희(Sammy)" userId="c309e5cc-64ff-444f-8b61-2a552b0828c7" providerId="ADAL" clId="{30CB131B-2057-4224-994D-64ED7368E44E}" dt="2022-11-01T10:40:51.024" v="544"/>
          <ac:spMkLst>
            <pc:docMk/>
            <pc:sldMk cId="183421795" sldId="324"/>
            <ac:spMk id="1040" creationId="{79FC9709-4736-826E-5B28-9880296E494F}"/>
          </ac:spMkLst>
        </pc:spChg>
        <pc:spChg chg="mod">
          <ac:chgData name="유세희(Sammy)" userId="c309e5cc-64ff-444f-8b61-2a552b0828c7" providerId="ADAL" clId="{30CB131B-2057-4224-994D-64ED7368E44E}" dt="2022-11-01T10:40:51.024" v="544"/>
          <ac:spMkLst>
            <pc:docMk/>
            <pc:sldMk cId="183421795" sldId="324"/>
            <ac:spMk id="1041" creationId="{96B369C3-A74F-A9E9-4AA1-0E5796D28C42}"/>
          </ac:spMkLst>
        </pc:spChg>
        <pc:spChg chg="mod">
          <ac:chgData name="유세희(Sammy)" userId="c309e5cc-64ff-444f-8b61-2a552b0828c7" providerId="ADAL" clId="{30CB131B-2057-4224-994D-64ED7368E44E}" dt="2022-11-01T10:40:51.024" v="544"/>
          <ac:spMkLst>
            <pc:docMk/>
            <pc:sldMk cId="183421795" sldId="324"/>
            <ac:spMk id="1043" creationId="{D0AD63AC-069D-F12D-8A7F-4CA9D3932F9E}"/>
          </ac:spMkLst>
        </pc:spChg>
        <pc:spChg chg="add del mod">
          <ac:chgData name="유세희(Sammy)" userId="c309e5cc-64ff-444f-8b61-2a552b0828c7" providerId="ADAL" clId="{30CB131B-2057-4224-994D-64ED7368E44E}" dt="2022-11-01T10:44:11.138" v="705" actId="478"/>
          <ac:spMkLst>
            <pc:docMk/>
            <pc:sldMk cId="183421795" sldId="324"/>
            <ac:spMk id="1045" creationId="{30C47B9E-FC5C-5B76-765B-EF2FEBD3F2DA}"/>
          </ac:spMkLst>
        </pc:spChg>
        <pc:spChg chg="add mod">
          <ac:chgData name="유세희(Sammy)" userId="c309e5cc-64ff-444f-8b61-2a552b0828c7" providerId="ADAL" clId="{30CB131B-2057-4224-994D-64ED7368E44E}" dt="2022-11-01T10:44:09.179" v="704" actId="404"/>
          <ac:spMkLst>
            <pc:docMk/>
            <pc:sldMk cId="183421795" sldId="324"/>
            <ac:spMk id="1050" creationId="{2011FBBE-2739-F3C4-AFE7-E4224DC1157F}"/>
          </ac:spMkLst>
        </pc:spChg>
        <pc:grpChg chg="add del mod">
          <ac:chgData name="유세희(Sammy)" userId="c309e5cc-64ff-444f-8b61-2a552b0828c7" providerId="ADAL" clId="{30CB131B-2057-4224-994D-64ED7368E44E}" dt="2022-11-01T10:42:54.184" v="562" actId="165"/>
          <ac:grpSpMkLst>
            <pc:docMk/>
            <pc:sldMk cId="183421795" sldId="324"/>
            <ac:grpSpMk id="3" creationId="{FC98075A-C448-36AC-67E1-8F0C2298862C}"/>
          </ac:grpSpMkLst>
        </pc:grpChg>
        <pc:grpChg chg="add del mod">
          <ac:chgData name="유세희(Sammy)" userId="c309e5cc-64ff-444f-8b61-2a552b0828c7" providerId="ADAL" clId="{30CB131B-2057-4224-994D-64ED7368E44E}" dt="2022-11-01T10:40:52.598" v="545"/>
          <ac:grpSpMkLst>
            <pc:docMk/>
            <pc:sldMk cId="183421795" sldId="324"/>
            <ac:grpSpMk id="1026" creationId="{FAC1EFEB-1D05-4F2A-4259-7411DA01A6DD}"/>
          </ac:grpSpMkLst>
        </pc:grpChg>
        <pc:grpChg chg="del">
          <ac:chgData name="유세희(Sammy)" userId="c309e5cc-64ff-444f-8b61-2a552b0828c7" providerId="ADAL" clId="{30CB131B-2057-4224-994D-64ED7368E44E}" dt="2022-11-01T10:38:57.059" v="527" actId="478"/>
          <ac:grpSpMkLst>
            <pc:docMk/>
            <pc:sldMk cId="183421795" sldId="324"/>
            <ac:grpSpMk id="1031" creationId="{C1EC44BA-6684-EA5F-0564-30B75DC79AB6}"/>
          </ac:grpSpMkLst>
        </pc:grpChg>
        <pc:grpChg chg="add mod">
          <ac:chgData name="유세희(Sammy)" userId="c309e5cc-64ff-444f-8b61-2a552b0828c7" providerId="ADAL" clId="{30CB131B-2057-4224-994D-64ED7368E44E}" dt="2022-11-01T10:44:01.058" v="699" actId="1076"/>
          <ac:grpSpMkLst>
            <pc:docMk/>
            <pc:sldMk cId="183421795" sldId="324"/>
            <ac:grpSpMk id="1048" creationId="{964544EF-510D-B450-AC05-199D85BD55AD}"/>
          </ac:grpSpMkLst>
        </pc:grpChg>
        <pc:picChg chg="add mod">
          <ac:chgData name="유세희(Sammy)" userId="c309e5cc-64ff-444f-8b61-2a552b0828c7" providerId="ADAL" clId="{30CB131B-2057-4224-994D-64ED7368E44E}" dt="2022-11-01T10:39:34.975" v="538"/>
          <ac:picMkLst>
            <pc:docMk/>
            <pc:sldMk cId="183421795" sldId="324"/>
            <ac:picMk id="2" creationId="{B4CDF729-C647-E4B0-EE9A-8E70A25E83A5}"/>
          </ac:picMkLst>
        </pc:picChg>
        <pc:picChg chg="mod topLvl">
          <ac:chgData name="유세희(Sammy)" userId="c309e5cc-64ff-444f-8b61-2a552b0828c7" providerId="ADAL" clId="{30CB131B-2057-4224-994D-64ED7368E44E}" dt="2022-11-01T10:42:54.184" v="562" actId="165"/>
          <ac:picMkLst>
            <pc:docMk/>
            <pc:sldMk cId="183421795" sldId="324"/>
            <ac:picMk id="4" creationId="{B6FE539F-4F42-35E7-15F2-B24890BC5229}"/>
          </ac:picMkLst>
        </pc:picChg>
        <pc:picChg chg="mod topLvl">
          <ac:chgData name="유세희(Sammy)" userId="c309e5cc-64ff-444f-8b61-2a552b0828c7" providerId="ADAL" clId="{30CB131B-2057-4224-994D-64ED7368E44E}" dt="2022-11-01T10:42:54.184" v="562" actId="165"/>
          <ac:picMkLst>
            <pc:docMk/>
            <pc:sldMk cId="183421795" sldId="324"/>
            <ac:picMk id="10" creationId="{74A51C48-11EF-2075-4A73-6A31EE6B7CDB}"/>
          </ac:picMkLst>
        </pc:picChg>
        <pc:picChg chg="del mod">
          <ac:chgData name="유세희(Sammy)" userId="c309e5cc-64ff-444f-8b61-2a552b0828c7" providerId="ADAL" clId="{30CB131B-2057-4224-994D-64ED7368E44E}" dt="2022-11-01T10:39:44.145" v="541" actId="478"/>
          <ac:picMkLst>
            <pc:docMk/>
            <pc:sldMk cId="183421795" sldId="324"/>
            <ac:picMk id="12" creationId="{BA28D1EA-C49A-C1C8-C23A-AC17433F67B8}"/>
          </ac:picMkLst>
        </pc:picChg>
        <pc:picChg chg="mod ord topLvl">
          <ac:chgData name="유세희(Sammy)" userId="c309e5cc-64ff-444f-8b61-2a552b0828c7" providerId="ADAL" clId="{30CB131B-2057-4224-994D-64ED7368E44E}" dt="2022-11-01T10:43:56.298" v="696" actId="164"/>
          <ac:picMkLst>
            <pc:docMk/>
            <pc:sldMk cId="183421795" sldId="324"/>
            <ac:picMk id="15" creationId="{819AF48A-1116-3175-C61E-F4028C18B1BF}"/>
          </ac:picMkLst>
        </pc:picChg>
        <pc:picChg chg="mod ord topLvl">
          <ac:chgData name="유세희(Sammy)" userId="c309e5cc-64ff-444f-8b61-2a552b0828c7" providerId="ADAL" clId="{30CB131B-2057-4224-994D-64ED7368E44E}" dt="2022-11-01T10:43:56.298" v="696" actId="164"/>
          <ac:picMkLst>
            <pc:docMk/>
            <pc:sldMk cId="183421795" sldId="324"/>
            <ac:picMk id="16" creationId="{0DCAC56C-7903-949F-282B-15E994E70218}"/>
          </ac:picMkLst>
        </pc:picChg>
        <pc:picChg chg="del mod topLvl">
          <ac:chgData name="유세희(Sammy)" userId="c309e5cc-64ff-444f-8b61-2a552b0828c7" providerId="ADAL" clId="{30CB131B-2057-4224-994D-64ED7368E44E}" dt="2022-11-01T10:43:52.027" v="694" actId="478"/>
          <ac:picMkLst>
            <pc:docMk/>
            <pc:sldMk cId="183421795" sldId="324"/>
            <ac:picMk id="22" creationId="{11565CE8-8BDF-0DD6-3C5A-3CF06AAD729E}"/>
          </ac:picMkLst>
        </pc:picChg>
        <pc:picChg chg="del mod topLvl">
          <ac:chgData name="유세희(Sammy)" userId="c309e5cc-64ff-444f-8b61-2a552b0828c7" providerId="ADAL" clId="{30CB131B-2057-4224-994D-64ED7368E44E}" dt="2022-11-01T10:45:23.441" v="713" actId="478"/>
          <ac:picMkLst>
            <pc:docMk/>
            <pc:sldMk cId="183421795" sldId="324"/>
            <ac:picMk id="28" creationId="{01742309-D14F-7817-F3A9-8B6E99EB68D2}"/>
          </ac:picMkLst>
        </pc:picChg>
        <pc:picChg chg="mod">
          <ac:chgData name="유세희(Sammy)" userId="c309e5cc-64ff-444f-8b61-2a552b0828c7" providerId="ADAL" clId="{30CB131B-2057-4224-994D-64ED7368E44E}" dt="2022-11-01T10:40:51.024" v="544"/>
          <ac:picMkLst>
            <pc:docMk/>
            <pc:sldMk cId="183421795" sldId="324"/>
            <ac:picMk id="1027" creationId="{11F75C57-4670-A21D-B84D-830F7E30C1B1}"/>
          </ac:picMkLst>
        </pc:picChg>
        <pc:picChg chg="mod">
          <ac:chgData name="유세희(Sammy)" userId="c309e5cc-64ff-444f-8b61-2a552b0828c7" providerId="ADAL" clId="{30CB131B-2057-4224-994D-64ED7368E44E}" dt="2022-11-01T10:40:51.024" v="544"/>
          <ac:picMkLst>
            <pc:docMk/>
            <pc:sldMk cId="183421795" sldId="324"/>
            <ac:picMk id="1028" creationId="{21B26067-703C-6EE8-545D-DF9F26654D3B}"/>
          </ac:picMkLst>
        </pc:picChg>
        <pc:picChg chg="mod">
          <ac:chgData name="유세희(Sammy)" userId="c309e5cc-64ff-444f-8b61-2a552b0828c7" providerId="ADAL" clId="{30CB131B-2057-4224-994D-64ED7368E44E}" dt="2022-11-01T10:40:51.024" v="544"/>
          <ac:picMkLst>
            <pc:docMk/>
            <pc:sldMk cId="183421795" sldId="324"/>
            <ac:picMk id="1032" creationId="{00AADE4F-7E51-B132-DAA5-C0137C8AA32C}"/>
          </ac:picMkLst>
        </pc:picChg>
        <pc:picChg chg="mod">
          <ac:chgData name="유세희(Sammy)" userId="c309e5cc-64ff-444f-8b61-2a552b0828c7" providerId="ADAL" clId="{30CB131B-2057-4224-994D-64ED7368E44E}" dt="2022-11-01T10:40:51.024" v="544"/>
          <ac:picMkLst>
            <pc:docMk/>
            <pc:sldMk cId="183421795" sldId="324"/>
            <ac:picMk id="1034" creationId="{D7F01DB4-7DC9-538B-9320-7F60C16E84D8}"/>
          </ac:picMkLst>
        </pc:picChg>
        <pc:picChg chg="mod">
          <ac:chgData name="유세희(Sammy)" userId="c309e5cc-64ff-444f-8b61-2a552b0828c7" providerId="ADAL" clId="{30CB131B-2057-4224-994D-64ED7368E44E}" dt="2022-11-01T10:40:51.024" v="544"/>
          <ac:picMkLst>
            <pc:docMk/>
            <pc:sldMk cId="183421795" sldId="324"/>
            <ac:picMk id="1035" creationId="{CF2D3514-4BA8-0536-6C95-88DACC7B143C}"/>
          </ac:picMkLst>
        </pc:picChg>
        <pc:picChg chg="mod">
          <ac:chgData name="유세희(Sammy)" userId="c309e5cc-64ff-444f-8b61-2a552b0828c7" providerId="ADAL" clId="{30CB131B-2057-4224-994D-64ED7368E44E}" dt="2022-11-01T10:40:51.024" v="544"/>
          <ac:picMkLst>
            <pc:docMk/>
            <pc:sldMk cId="183421795" sldId="324"/>
            <ac:picMk id="1039" creationId="{7248C6C8-42D2-2770-54AA-73E9A4918804}"/>
          </ac:picMkLst>
        </pc:picChg>
        <pc:picChg chg="mod">
          <ac:chgData name="유세희(Sammy)" userId="c309e5cc-64ff-444f-8b61-2a552b0828c7" providerId="ADAL" clId="{30CB131B-2057-4224-994D-64ED7368E44E}" dt="2022-11-01T10:40:51.024" v="544"/>
          <ac:picMkLst>
            <pc:docMk/>
            <pc:sldMk cId="183421795" sldId="324"/>
            <ac:picMk id="1042" creationId="{B137FAA7-4890-77CA-38EA-479B5A36BE75}"/>
          </ac:picMkLst>
        </pc:picChg>
        <pc:picChg chg="add mod modCrop">
          <ac:chgData name="유세희(Sammy)" userId="c309e5cc-64ff-444f-8b61-2a552b0828c7" providerId="ADAL" clId="{30CB131B-2057-4224-994D-64ED7368E44E}" dt="2022-11-01T10:43:56.298" v="696" actId="164"/>
          <ac:picMkLst>
            <pc:docMk/>
            <pc:sldMk cId="183421795" sldId="324"/>
            <ac:picMk id="1047" creationId="{819C620A-5B86-D950-B56F-17C4E5382B50}"/>
          </ac:picMkLst>
        </pc:picChg>
        <pc:picChg chg="add del">
          <ac:chgData name="유세희(Sammy)" userId="c309e5cc-64ff-444f-8b61-2a552b0828c7" providerId="ADAL" clId="{30CB131B-2057-4224-994D-64ED7368E44E}" dt="2022-11-01T10:41:58.115" v="549" actId="478"/>
          <ac:picMkLst>
            <pc:docMk/>
            <pc:sldMk cId="183421795" sldId="324"/>
            <ac:picMk id="2050" creationId="{D5F21E04-C0F9-FB04-831B-9AAAF3B53800}"/>
          </ac:picMkLst>
        </pc:picChg>
        <pc:picChg chg="add mod">
          <ac:chgData name="유세희(Sammy)" userId="c309e5cc-64ff-444f-8b61-2a552b0828c7" providerId="ADAL" clId="{30CB131B-2057-4224-994D-64ED7368E44E}" dt="2022-11-01T10:48:11.942" v="767" actId="1076"/>
          <ac:picMkLst>
            <pc:docMk/>
            <pc:sldMk cId="183421795" sldId="324"/>
            <ac:picMk id="2052" creationId="{3A9B519D-EEAC-9C6E-3A95-B5DA9B8FC9A5}"/>
          </ac:picMkLst>
        </pc:picChg>
        <pc:cxnChg chg="del mod topLvl">
          <ac:chgData name="유세희(Sammy)" userId="c309e5cc-64ff-444f-8b61-2a552b0828c7" providerId="ADAL" clId="{30CB131B-2057-4224-994D-64ED7368E44E}" dt="2022-11-01T10:43:19.880" v="570" actId="478"/>
          <ac:cxnSpMkLst>
            <pc:docMk/>
            <pc:sldMk cId="183421795" sldId="324"/>
            <ac:cxnSpMk id="19" creationId="{5DC5DD36-C953-84F8-A63B-52912A2D4BED}"/>
          </ac:cxnSpMkLst>
        </pc:cxnChg>
        <pc:cxnChg chg="del mod topLvl">
          <ac:chgData name="유세희(Sammy)" userId="c309e5cc-64ff-444f-8b61-2a552b0828c7" providerId="ADAL" clId="{30CB131B-2057-4224-994D-64ED7368E44E}" dt="2022-11-01T10:43:19.880" v="570" actId="478"/>
          <ac:cxnSpMkLst>
            <pc:docMk/>
            <pc:sldMk cId="183421795" sldId="324"/>
            <ac:cxnSpMk id="21" creationId="{565EC847-73F5-2060-9125-9362CD0F3773}"/>
          </ac:cxnSpMkLst>
        </pc:cxnChg>
        <pc:cxnChg chg="mod">
          <ac:chgData name="유세희(Sammy)" userId="c309e5cc-64ff-444f-8b61-2a552b0828c7" providerId="ADAL" clId="{30CB131B-2057-4224-994D-64ED7368E44E}" dt="2022-11-01T10:40:51.024" v="544"/>
          <ac:cxnSpMkLst>
            <pc:docMk/>
            <pc:sldMk cId="183421795" sldId="324"/>
            <ac:cxnSpMk id="1036" creationId="{2002EFC3-858F-3E29-10C8-F0E1DD9169D0}"/>
          </ac:cxnSpMkLst>
        </pc:cxnChg>
        <pc:cxnChg chg="mod">
          <ac:chgData name="유세희(Sammy)" userId="c309e5cc-64ff-444f-8b61-2a552b0828c7" providerId="ADAL" clId="{30CB131B-2057-4224-994D-64ED7368E44E}" dt="2022-11-01T10:40:51.024" v="544"/>
          <ac:cxnSpMkLst>
            <pc:docMk/>
            <pc:sldMk cId="183421795" sldId="324"/>
            <ac:cxnSpMk id="1038" creationId="{B2400DFC-DE7D-6005-55AE-C600605D9358}"/>
          </ac:cxnSpMkLst>
        </pc:cxn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BF2B9E8-15D9-4887-A8DF-D6767264D7E1}" type="datetimeFigureOut">
              <a:rPr lang="ko-KR" altLang="en-US" smtClean="0"/>
              <a:t>2022-11-01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25C07A-70D0-472C-BAA8-67EF3D19B42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628603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73F7855-BA6F-4C01-8049-B7DB62059840}" type="slidenum">
              <a:rPr lang="en-US" altLang="ko-KR" smtClean="0">
                <a:solidFill>
                  <a:srgbClr val="000000"/>
                </a:solidFill>
              </a:rPr>
              <a:pPr>
                <a:defRPr/>
              </a:pPr>
              <a:t>1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75204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F2229045-61C0-26FB-3E32-AEA48C6F04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A70171AC-B9A8-C6CC-C1A0-8BDF963929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A06E8A4F-D07A-97A7-4378-81146A052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16747-D0B9-4E0C-B98E-27DB5C22F15A}" type="datetimeFigureOut">
              <a:rPr lang="ko-KR" altLang="en-US" smtClean="0"/>
              <a:t>2022-11-01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522299F0-3AED-2B3B-2A1A-90310AE716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AA7B16D7-171C-5BE4-6E6C-58FE1E7C65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3A3A3E-DC25-4167-8A85-B69D088EA7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397559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A2E7C084-8462-85C1-8CE5-C1ED0AF669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416F4269-8FE3-EC46-81D3-A3711A6D031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F958F606-A7A4-C1FD-58CC-BBA2CC868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16747-D0B9-4E0C-B98E-27DB5C22F15A}" type="datetimeFigureOut">
              <a:rPr lang="ko-KR" altLang="en-US" smtClean="0"/>
              <a:t>2022-11-01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48CE7A37-2E6A-EB47-BE5D-7FFCF31070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1C0AA51F-84E8-344D-9C99-E59A948FD2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3A3A3E-DC25-4167-8A85-B69D088EA7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648755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851CD325-006E-1223-2F28-D914DD590C5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770EFE30-8CEC-8118-7F76-21E59D25920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74680537-1239-D642-CDFD-8DEFF5A9CA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16747-D0B9-4E0C-B98E-27DB5C22F15A}" type="datetimeFigureOut">
              <a:rPr lang="ko-KR" altLang="en-US" smtClean="0"/>
              <a:t>2022-11-01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F89959FE-AB31-F8BE-49F8-59C98A31C4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11FA2788-01FE-7167-356B-29BFB24A0F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3A3A3E-DC25-4167-8A85-B69D088EA7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401730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354F92-8852-1FE7-DA52-5912D30F00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EE0A37D7-64DB-1941-1AB4-74317FF23F2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2A27BA4C-703F-5DE8-6292-C079D0FE73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16747-D0B9-4E0C-B98E-27DB5C22F15A}" type="datetimeFigureOut">
              <a:rPr lang="ko-KR" altLang="en-US" smtClean="0"/>
              <a:t>2022-11-01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401D6ADF-1FCF-0616-2447-9C39625F4F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CE2C524-6FE0-C42A-602F-255F5FCF58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3A3A3E-DC25-4167-8A85-B69D088EA7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341956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BC0952A-8EA4-68DD-1E55-F52FEBB011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7258CF05-83AF-4405-1688-CA6169FC7C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29CF2186-89DE-FDA6-F07D-A55A7BCC64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16747-D0B9-4E0C-B98E-27DB5C22F15A}" type="datetimeFigureOut">
              <a:rPr lang="ko-KR" altLang="en-US" smtClean="0"/>
              <a:t>2022-11-01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3F86856C-F6AA-39CD-4A9F-2DEBB3C51E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DCD84DD3-4CFD-36C0-C617-3E82F8EC00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3A3A3E-DC25-4167-8A85-B69D088EA7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909329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B61C899-0CFF-48F9-FA35-1670FA7299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A616C747-0C33-9FD5-16A2-A2E5EED2C97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DA129917-C7C3-412E-0890-9532279F87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99ABCCE0-E608-22AE-84D5-CE6F2C55B9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16747-D0B9-4E0C-B98E-27DB5C22F15A}" type="datetimeFigureOut">
              <a:rPr lang="ko-KR" altLang="en-US" smtClean="0"/>
              <a:t>2022-11-01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C09E4439-F7F3-8BB3-96ED-82446EE51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D9F3F0BA-EA14-6901-43E7-0311C2D55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3A3A3E-DC25-4167-8A85-B69D088EA7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894555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E7112FF-3B8A-818F-0665-4AB8558DB9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D8F57D5C-DF0A-B9EB-86C1-B79DCEB0D0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7E856246-1695-D9E5-4BC0-9ED54ABAE29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6B0C3FFA-4FC7-0BF7-484C-3C2C2E0DF3C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E9F01FD2-754B-5BCE-712D-6342E03FA2B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301C8789-D922-1411-3F08-D9396B1E40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16747-D0B9-4E0C-B98E-27DB5C22F15A}" type="datetimeFigureOut">
              <a:rPr lang="ko-KR" altLang="en-US" smtClean="0"/>
              <a:t>2022-11-01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8710FA8B-12B5-324C-ABB1-CDCE46DABB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8779CD6C-A467-6D58-9DA5-6C71260F72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3A3A3E-DC25-4167-8A85-B69D088EA7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629212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98B7781-B040-BDDC-4528-76B0F41775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3FED5039-ECEE-3205-2DFA-D77319E3DF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16747-D0B9-4E0C-B98E-27DB5C22F15A}" type="datetimeFigureOut">
              <a:rPr lang="ko-KR" altLang="en-US" smtClean="0"/>
              <a:t>2022-11-01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5CB81BA6-AB7D-16B2-6631-64D3B1C11F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F59AA0E0-FC1F-61EC-6E88-5F0406BE80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3A3A3E-DC25-4167-8A85-B69D088EA7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578864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C766EF7A-5C06-5B40-2C0A-0DD0949DCC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16747-D0B9-4E0C-B98E-27DB5C22F15A}" type="datetimeFigureOut">
              <a:rPr lang="ko-KR" altLang="en-US" smtClean="0"/>
              <a:t>2022-11-01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B389EE7F-50E9-6A48-A06C-04E796A7AE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95810BF-820F-2299-4941-6E3F37F169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3A3A3E-DC25-4167-8A85-B69D088EA7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437296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ED5A122-CAD3-E99A-74FF-D144D4AB35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F9074193-F946-9ECD-71B9-923A70A1E9C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21946744-500B-447E-2E9E-8A81C3F04FC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3E37BCBE-0AAA-2A68-7213-A06BA58BB5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16747-D0B9-4E0C-B98E-27DB5C22F15A}" type="datetimeFigureOut">
              <a:rPr lang="ko-KR" altLang="en-US" smtClean="0"/>
              <a:t>2022-11-01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AB3A28BA-59E2-F141-00B2-9961BD6CB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C12066CD-5044-8560-6B90-49E5A7E700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3A3A3E-DC25-4167-8A85-B69D088EA7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014953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AC18D99-28B7-82DA-213D-DAB6749565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455120D4-E55F-89CD-5CB8-B05074517CD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117C6413-0361-46AE-B3AD-414701B583C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757AF516-20AC-251C-55D7-111C554699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16747-D0B9-4E0C-B98E-27DB5C22F15A}" type="datetimeFigureOut">
              <a:rPr lang="ko-KR" altLang="en-US" smtClean="0"/>
              <a:t>2022-11-01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B7B557B4-B4ED-594B-2D37-9D2E119D21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8703D7F4-CF8C-2090-B525-A9C67CEC48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3A3A3E-DC25-4167-8A85-B69D088EA7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233168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C7CB0E6F-5821-9FCF-A6DA-3E0F0CAFDE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54BAA755-1859-6C61-22A3-02D155FB4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55C5BB70-2B09-02E7-D7EC-08C1FEFCCDA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516747-D0B9-4E0C-B98E-27DB5C22F15A}" type="datetimeFigureOut">
              <a:rPr lang="ko-KR" altLang="en-US" smtClean="0"/>
              <a:t>2022-11-01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606ED813-C888-FE09-343D-2A97532084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CABB5512-26FA-6425-E4F5-FBF5B24EC8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3A3A3E-DC25-4167-8A85-B69D088EA7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991751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image" Target="../media/image9.png"/><Relationship Id="rId7" Type="http://schemas.openxmlformats.org/officeDocument/2006/relationships/image" Target="../media/image11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6.png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290" y="644228"/>
          <a:ext cx="1290" cy="12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18" progId="TCLayout.ActiveDocument.1">
                  <p:embed/>
                </p:oleObj>
              </mc:Choice>
              <mc:Fallback>
                <p:oleObj name="think-cell Slide" r:id="rId4" imgW="353" imgH="318" progId="TCLayout.ActiveDocument.1">
                  <p:embed/>
                  <p:pic>
                    <p:nvPicPr>
                      <p:cNvPr id="2" name="개체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290" y="644228"/>
                        <a:ext cx="1290" cy="12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 Box 9"/>
          <p:cNvSpPr txBox="1">
            <a:spLocks noChangeArrowheads="1"/>
          </p:cNvSpPr>
          <p:nvPr/>
        </p:nvSpPr>
        <p:spPr bwMode="auto">
          <a:xfrm>
            <a:off x="5351463" y="267497"/>
            <a:ext cx="1460656" cy="246221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US" altLang="ko-KR" sz="1000" dirty="0">
                <a:solidFill>
                  <a:srgbClr val="FFFFFF">
                    <a:lumMod val="75000"/>
                  </a:srgbClr>
                </a:solidFill>
                <a:latin typeface="Arial" charset="0"/>
                <a:ea typeface="맑은 고딕" panose="020B0503020000020004" pitchFamily="50" charset="-127"/>
              </a:rPr>
              <a:t>LGE Internal Use Only</a:t>
            </a:r>
          </a:p>
        </p:txBody>
      </p:sp>
      <p:pic>
        <p:nvPicPr>
          <p:cNvPr id="10" name="Picture 2" descr="C:\ECM\TEMP\부서함\Brand담당\20년 연간업무계획\디지털 그래픽 모티브 개발★\★1st Manual Official Release\Graphic Asset_v1.0\1. Main motif - Solid color\png\Main_motif-LG_red_solid.png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796563" cy="23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C:\ECM\TEMP\부서함\Brand담당\20년 연간업무계획\디지털 그래픽 모티브 개발★\★1st Manual Official Release\Graphic Asset_v1.0\1. Main motif - Solid color\png\Main_motif-LG_red_solid.png"/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613944" y="5295186"/>
            <a:ext cx="1578056" cy="15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C:\ECM\TEMP\부서함\Brand담당\CI 매뉴얼★\★로고파일-자회사名\14년ver\(주)LG\LG_가로조합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91485" y="5206105"/>
            <a:ext cx="892732" cy="391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내용 개체 틀 19"/>
          <p:cNvSpPr txBox="1">
            <a:spLocks/>
          </p:cNvSpPr>
          <p:nvPr/>
        </p:nvSpPr>
        <p:spPr>
          <a:xfrm>
            <a:off x="3254156" y="5206106"/>
            <a:ext cx="5655271" cy="290465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lvl1pPr marL="0" indent="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None/>
              <a:defRPr lang="ko-KR" altLang="en-US" sz="14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+mj-cs"/>
              </a:defRPr>
            </a:lvl1pPr>
            <a:lvl2pPr marL="457200" indent="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None/>
              <a:defRPr lang="ko-KR" altLang="en-US" sz="2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None/>
              <a:defRPr lang="ko-KR" altLang="en-US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None/>
              <a:defRPr lang="ko-KR" alt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None/>
              <a:defRPr lang="ko-KR" alt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altLang="ko-KR" b="1" dirty="0">
                <a:solidFill>
                  <a:sysClr val="windowText" lastClr="000000">
                    <a:lumMod val="95000"/>
                    <a:lumOff val="5000"/>
                  </a:sysClr>
                </a:solidFill>
                <a:latin typeface="Arial Narrow"/>
                <a:ea typeface="LG스마트체 Regular"/>
              </a:rPr>
              <a:t>2022. 11. 01</a:t>
            </a:r>
            <a:endParaRPr b="1" dirty="0">
              <a:solidFill>
                <a:sysClr val="windowText" lastClr="000000">
                  <a:lumMod val="95000"/>
                  <a:lumOff val="5000"/>
                </a:sysClr>
              </a:solidFill>
              <a:latin typeface="Arial Narrow"/>
              <a:ea typeface="LG스마트체 Regular"/>
            </a:endParaRPr>
          </a:p>
        </p:txBody>
      </p:sp>
      <p:sp>
        <p:nvSpPr>
          <p:cNvPr id="18" name="제목 11"/>
          <p:cNvSpPr txBox="1">
            <a:spLocks/>
          </p:cNvSpPr>
          <p:nvPr/>
        </p:nvSpPr>
        <p:spPr>
          <a:xfrm>
            <a:off x="789942" y="1888692"/>
            <a:ext cx="8725118" cy="936796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lvl1pPr algn="l" defTabSz="914400" rtl="0" eaLnBrk="1" latinLnBrk="1" hangingPunct="1">
              <a:spcBef>
                <a:spcPct val="0"/>
              </a:spcBef>
              <a:buNone/>
              <a:defRPr sz="3200" kern="1200">
                <a:solidFill>
                  <a:schemeClr val="tx1">
                    <a:lumMod val="65000"/>
                    <a:lumOff val="35000"/>
                  </a:schemeClr>
                </a:solidFill>
                <a:latin typeface="LG스마트체2.0 SemiBold" panose="020B0600000101010101" pitchFamily="50" charset="-127"/>
                <a:ea typeface="LG스마트체2.0 SemiBold" panose="020B0600000101010101" pitchFamily="50" charset="-127"/>
                <a:cs typeface="+mj-cs"/>
              </a:defRPr>
            </a:lvl1pPr>
          </a:lstStyle>
          <a:p>
            <a:pPr>
              <a:defRPr/>
            </a:pPr>
            <a:r>
              <a:rPr lang="en-US" altLang="ko-KR" b="1" dirty="0">
                <a:latin typeface="Arial Narrow"/>
                <a:ea typeface="LG스마트체 Regular"/>
              </a:rPr>
              <a:t>'22 Appliance Finder Italy</a:t>
            </a:r>
          </a:p>
          <a:p>
            <a:pPr>
              <a:defRPr/>
            </a:pPr>
            <a:r>
              <a:rPr lang="en-US" altLang="ko-KR" sz="2400" b="1" dirty="0">
                <a:latin typeface="Arial Narrow"/>
                <a:ea typeface="LG스마트체 Regular"/>
              </a:rPr>
              <a:t>Fridge Freezers </a:t>
            </a:r>
            <a:r>
              <a:rPr lang="ko-KR" altLang="en-US" sz="2400" b="1" dirty="0">
                <a:latin typeface="Arial Narrow"/>
                <a:ea typeface="LG스마트체 Regular"/>
              </a:rPr>
              <a:t>추가 디자인 요청</a:t>
            </a:r>
            <a:endParaRPr lang="en-US" altLang="ko-KR" sz="2400" b="1" dirty="0">
              <a:latin typeface="Arial Narrow"/>
              <a:ea typeface="LG스마트체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231746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직사각형 14">
            <a:extLst>
              <a:ext uri="{FF2B5EF4-FFF2-40B4-BE49-F238E27FC236}">
                <a16:creationId xmlns:a16="http://schemas.microsoft.com/office/drawing/2014/main" id="{6AA61571-1AEA-94A4-494B-F2D89D55E2D3}"/>
              </a:ext>
            </a:extLst>
          </p:cNvPr>
          <p:cNvSpPr/>
          <p:nvPr/>
        </p:nvSpPr>
        <p:spPr>
          <a:xfrm>
            <a:off x="0" y="0"/>
            <a:ext cx="12192000" cy="4915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E3AAC80-7963-ECDD-E788-A526824F9AAD}"/>
              </a:ext>
            </a:extLst>
          </p:cNvPr>
          <p:cNvSpPr txBox="1"/>
          <p:nvPr/>
        </p:nvSpPr>
        <p:spPr>
          <a:xfrm>
            <a:off x="0" y="61102"/>
            <a:ext cx="27735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>
                <a:solidFill>
                  <a:schemeClr val="bg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Fridge Freezer Structure</a:t>
            </a:r>
            <a:endParaRPr lang="ko-KR" altLang="en-US" dirty="0">
              <a:solidFill>
                <a:schemeClr val="bg1"/>
              </a:solidFill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A99DDDF2-3D98-45E4-94D5-5ED022D076A6}"/>
              </a:ext>
            </a:extLst>
          </p:cNvPr>
          <p:cNvGrpSpPr/>
          <p:nvPr/>
        </p:nvGrpSpPr>
        <p:grpSpPr>
          <a:xfrm>
            <a:off x="4485967" y="1427010"/>
            <a:ext cx="3220066" cy="4674541"/>
            <a:chOff x="4485967" y="1096084"/>
            <a:chExt cx="3220066" cy="4674541"/>
          </a:xfrm>
        </p:grpSpPr>
        <p:grpSp>
          <p:nvGrpSpPr>
            <p:cNvPr id="31" name="그룹 30">
              <a:extLst>
                <a:ext uri="{FF2B5EF4-FFF2-40B4-BE49-F238E27FC236}">
                  <a16:creationId xmlns:a16="http://schemas.microsoft.com/office/drawing/2014/main" id="{6338CB90-4E00-A107-EB7F-69FC4DEF4763}"/>
                </a:ext>
              </a:extLst>
            </p:cNvPr>
            <p:cNvGrpSpPr/>
            <p:nvPr/>
          </p:nvGrpSpPr>
          <p:grpSpPr>
            <a:xfrm>
              <a:off x="4485967" y="1698002"/>
              <a:ext cx="3220066" cy="4072623"/>
              <a:chOff x="4485967" y="1784097"/>
              <a:chExt cx="3220066" cy="4072623"/>
            </a:xfrm>
          </p:grpSpPr>
          <p:sp>
            <p:nvSpPr>
              <p:cNvPr id="16" name="직사각형 15">
                <a:extLst>
                  <a:ext uri="{FF2B5EF4-FFF2-40B4-BE49-F238E27FC236}">
                    <a16:creationId xmlns:a16="http://schemas.microsoft.com/office/drawing/2014/main" id="{5016DF54-F9DF-13D5-0D7C-C28469B5B980}"/>
                  </a:ext>
                </a:extLst>
              </p:cNvPr>
              <p:cNvSpPr/>
              <p:nvPr/>
            </p:nvSpPr>
            <p:spPr>
              <a:xfrm>
                <a:off x="4485967" y="1784097"/>
                <a:ext cx="3220066" cy="491537"/>
              </a:xfrm>
              <a:prstGeom prst="rect">
                <a:avLst/>
              </a:prstGeom>
              <a:noFill/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altLang="ko-KR" sz="1400" kern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Arial Narrow" panose="020B0606020202030204" pitchFamily="34" charset="0"/>
                    <a:ea typeface="LG스마트체2.0 Regular" panose="020B0600000101010101" pitchFamily="50" charset="-127"/>
                  </a:rPr>
                  <a:t>1. Product type</a:t>
                </a:r>
              </a:p>
              <a:p>
                <a:pPr algn="ctr"/>
                <a:r>
                  <a:rPr lang="en-US" altLang="ko-KR" sz="1100" kern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Arial Narrow" panose="020B0606020202030204" pitchFamily="34" charset="0"/>
                    <a:ea typeface="LG스마트체2.0 Regular" panose="020B0600000101010101" pitchFamily="50" charset="-127"/>
                  </a:rPr>
                  <a:t>What type of fridge are you looking for?</a:t>
                </a:r>
                <a:endParaRPr lang="ko-KR" altLang="en-US" sz="11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endParaRPr>
              </a:p>
            </p:txBody>
          </p:sp>
          <p:sp>
            <p:nvSpPr>
              <p:cNvPr id="17" name="직사각형 16">
                <a:extLst>
                  <a:ext uri="{FF2B5EF4-FFF2-40B4-BE49-F238E27FC236}">
                    <a16:creationId xmlns:a16="http://schemas.microsoft.com/office/drawing/2014/main" id="{4E0791AE-B7DB-4C98-C8D3-DA2436367B5F}"/>
                  </a:ext>
                </a:extLst>
              </p:cNvPr>
              <p:cNvSpPr/>
              <p:nvPr/>
            </p:nvSpPr>
            <p:spPr>
              <a:xfrm>
                <a:off x="4485967" y="2396011"/>
                <a:ext cx="3220066" cy="491536"/>
              </a:xfrm>
              <a:prstGeom prst="rect">
                <a:avLst/>
              </a:prstGeom>
              <a:noFill/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altLang="ko-KR" sz="1400" kern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Arial Narrow" panose="020B0606020202030204" pitchFamily="34" charset="0"/>
                    <a:ea typeface="LG스마트체2.0 Regular" panose="020B0600000101010101" pitchFamily="50" charset="-127"/>
                  </a:rPr>
                  <a:t>2. Product capacity</a:t>
                </a:r>
              </a:p>
              <a:p>
                <a:pPr algn="ctr"/>
                <a:r>
                  <a:rPr lang="en-US" altLang="ko-KR" sz="1400" kern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Arial Narrow" panose="020B0606020202030204" pitchFamily="34" charset="0"/>
                    <a:ea typeface="LG스마트체2.0 Regular" panose="020B0600000101010101" pitchFamily="50" charset="-127"/>
                  </a:rPr>
                  <a:t> </a:t>
                </a:r>
                <a:r>
                  <a:rPr lang="en-US" altLang="ko-KR" sz="1100" kern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Arial Narrow" panose="020B0606020202030204" pitchFamily="34" charset="0"/>
                    <a:ea typeface="LG스마트체2.0 Regular" panose="020B0600000101010101" pitchFamily="50" charset="-127"/>
                  </a:rPr>
                  <a:t>What capacity do you need?</a:t>
                </a:r>
              </a:p>
            </p:txBody>
          </p:sp>
          <p:sp>
            <p:nvSpPr>
              <p:cNvPr id="18" name="직사각형 17">
                <a:extLst>
                  <a:ext uri="{FF2B5EF4-FFF2-40B4-BE49-F238E27FC236}">
                    <a16:creationId xmlns:a16="http://schemas.microsoft.com/office/drawing/2014/main" id="{7B1989E3-2233-E652-25DC-0E1E01A968BA}"/>
                  </a:ext>
                </a:extLst>
              </p:cNvPr>
              <p:cNvSpPr/>
              <p:nvPr/>
            </p:nvSpPr>
            <p:spPr>
              <a:xfrm>
                <a:off x="4485967" y="3007923"/>
                <a:ext cx="3220066" cy="491537"/>
              </a:xfrm>
              <a:prstGeom prst="rect">
                <a:avLst/>
              </a:prstGeom>
              <a:noFill/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altLang="ko-KR" sz="1400" kern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Arial Narrow" panose="020B0606020202030204" pitchFamily="34" charset="0"/>
                    <a:ea typeface="LG스마트체2.0 Regular" panose="020B0600000101010101" pitchFamily="50" charset="-127"/>
                  </a:rPr>
                  <a:t>3. Product size</a:t>
                </a:r>
              </a:p>
              <a:p>
                <a:pPr algn="ctr"/>
                <a:r>
                  <a:rPr lang="en-US" altLang="ko-KR" sz="1100" kern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Arial Narrow" panose="020B0606020202030204" pitchFamily="34" charset="0"/>
                    <a:ea typeface="LG스마트체2.0 Regular" panose="020B0600000101010101" pitchFamily="50" charset="-127"/>
                  </a:rPr>
                  <a:t>Which size best fits your space?</a:t>
                </a:r>
                <a:endParaRPr lang="ko-KR" altLang="en-US" sz="11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endParaRPr>
              </a:p>
            </p:txBody>
          </p:sp>
          <p:sp>
            <p:nvSpPr>
              <p:cNvPr id="19" name="직사각형 18">
                <a:extLst>
                  <a:ext uri="{FF2B5EF4-FFF2-40B4-BE49-F238E27FC236}">
                    <a16:creationId xmlns:a16="http://schemas.microsoft.com/office/drawing/2014/main" id="{E3784645-F366-1115-963D-4D3352DD51F2}"/>
                  </a:ext>
                </a:extLst>
              </p:cNvPr>
              <p:cNvSpPr/>
              <p:nvPr/>
            </p:nvSpPr>
            <p:spPr>
              <a:xfrm>
                <a:off x="4485967" y="3619836"/>
                <a:ext cx="3220066" cy="491537"/>
              </a:xfrm>
              <a:prstGeom prst="rect">
                <a:avLst/>
              </a:prstGeom>
              <a:noFill/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altLang="ko-KR" sz="1400" kern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Arial Narrow" panose="020B0606020202030204" pitchFamily="34" charset="0"/>
                    <a:ea typeface="LG스마트체2.0 Regular" panose="020B0600000101010101" pitchFamily="50" charset="-127"/>
                  </a:rPr>
                  <a:t>4. Ice &amp; Water Dispenser</a:t>
                </a:r>
              </a:p>
              <a:p>
                <a:pPr algn="ctr"/>
                <a:r>
                  <a:rPr lang="en-US" altLang="ko-KR" sz="1100" kern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Arial Narrow" panose="020B0606020202030204" pitchFamily="34" charset="0"/>
                    <a:ea typeface="LG스마트체2.0 Regular" panose="020B0600000101010101" pitchFamily="50" charset="-127"/>
                  </a:rPr>
                  <a:t>Do you need a fridge with an Ice &amp; Water Dispenser?</a:t>
                </a:r>
                <a:endParaRPr lang="ko-KR" altLang="en-US" sz="11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endParaRPr>
              </a:p>
            </p:txBody>
          </p:sp>
          <p:sp>
            <p:nvSpPr>
              <p:cNvPr id="20" name="직사각형 19">
                <a:extLst>
                  <a:ext uri="{FF2B5EF4-FFF2-40B4-BE49-F238E27FC236}">
                    <a16:creationId xmlns:a16="http://schemas.microsoft.com/office/drawing/2014/main" id="{F0B7E585-3589-0421-8CD4-0616EC72A806}"/>
                  </a:ext>
                </a:extLst>
              </p:cNvPr>
              <p:cNvSpPr/>
              <p:nvPr/>
            </p:nvSpPr>
            <p:spPr>
              <a:xfrm>
                <a:off x="4485967" y="4224537"/>
                <a:ext cx="3220066" cy="491537"/>
              </a:xfrm>
              <a:prstGeom prst="rect">
                <a:avLst/>
              </a:prstGeom>
              <a:noFill/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altLang="ko-KR" sz="1400" kern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Arial Narrow" panose="020B0606020202030204" pitchFamily="34" charset="0"/>
                    <a:ea typeface="LG스마트체2.0 Regular" panose="020B0600000101010101" pitchFamily="50" charset="-127"/>
                  </a:rPr>
                  <a:t>5. Key feature </a:t>
                </a:r>
              </a:p>
              <a:p>
                <a:pPr algn="ctr"/>
                <a:r>
                  <a:rPr lang="en-US" altLang="ko-KR" sz="1100" kern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Arial Narrow" panose="020B0606020202030204" pitchFamily="34" charset="0"/>
                    <a:ea typeface="LG스마트체2.0 Regular" panose="020B0600000101010101" pitchFamily="50" charset="-127"/>
                  </a:rPr>
                  <a:t>Which Key feature of a fridge is your priority?</a:t>
                </a:r>
                <a:endParaRPr lang="ko-KR" altLang="en-US" sz="11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endParaRPr>
              </a:p>
            </p:txBody>
          </p:sp>
          <p:sp>
            <p:nvSpPr>
              <p:cNvPr id="21" name="직사각형 20">
                <a:extLst>
                  <a:ext uri="{FF2B5EF4-FFF2-40B4-BE49-F238E27FC236}">
                    <a16:creationId xmlns:a16="http://schemas.microsoft.com/office/drawing/2014/main" id="{07136800-C9AB-3A75-1D4F-034E82565122}"/>
                  </a:ext>
                </a:extLst>
              </p:cNvPr>
              <p:cNvSpPr/>
              <p:nvPr/>
            </p:nvSpPr>
            <p:spPr>
              <a:xfrm>
                <a:off x="4485967" y="4787551"/>
                <a:ext cx="3220066" cy="491537"/>
              </a:xfrm>
              <a:prstGeom prst="rect">
                <a:avLst/>
              </a:prstGeom>
              <a:noFill/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altLang="ko-KR" sz="1400" kern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Arial Narrow" panose="020B0606020202030204" pitchFamily="34" charset="0"/>
                    <a:ea typeface="LG스마트체2.0 Regular" panose="020B0600000101010101" pitchFamily="50" charset="-127"/>
                  </a:rPr>
                  <a:t>6. Additional features</a:t>
                </a:r>
              </a:p>
              <a:p>
                <a:pPr algn="ctr"/>
                <a:r>
                  <a:rPr lang="en-US" altLang="ko-KR" sz="1100" kern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Arial Narrow" panose="020B0606020202030204" pitchFamily="34" charset="0"/>
                    <a:ea typeface="LG스마트체2.0 Regular" panose="020B0600000101010101" pitchFamily="50" charset="-127"/>
                  </a:rPr>
                  <a:t>Which additional features do you want from your fridge?</a:t>
                </a:r>
                <a:endParaRPr lang="ko-KR" altLang="en-US" sz="11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endParaRPr>
              </a:p>
            </p:txBody>
          </p:sp>
          <p:sp>
            <p:nvSpPr>
              <p:cNvPr id="24" name="직사각형 23">
                <a:extLst>
                  <a:ext uri="{FF2B5EF4-FFF2-40B4-BE49-F238E27FC236}">
                    <a16:creationId xmlns:a16="http://schemas.microsoft.com/office/drawing/2014/main" id="{A6414C23-AF79-69AF-8B25-4B812EB0E7AC}"/>
                  </a:ext>
                </a:extLst>
              </p:cNvPr>
              <p:cNvSpPr/>
              <p:nvPr/>
            </p:nvSpPr>
            <p:spPr>
              <a:xfrm>
                <a:off x="4485967" y="5365183"/>
                <a:ext cx="3220066" cy="491537"/>
              </a:xfrm>
              <a:prstGeom prst="rect">
                <a:avLst/>
              </a:prstGeom>
              <a:noFill/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altLang="ko-KR" sz="1400" kern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Arial Narrow" panose="020B0606020202030204" pitchFamily="34" charset="0"/>
                    <a:ea typeface="LG스마트체2.0 Regular" panose="020B0600000101010101" pitchFamily="50" charset="-127"/>
                  </a:rPr>
                  <a:t>7. Product </a:t>
                </a:r>
                <a:r>
                  <a:rPr lang="en-US" altLang="ko-KR" sz="1400" kern="0" dirty="0" err="1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Arial Narrow" panose="020B0606020202030204" pitchFamily="34" charset="0"/>
                    <a:ea typeface="LG스마트체2.0 Regular" panose="020B0600000101010101" pitchFamily="50" charset="-127"/>
                  </a:rPr>
                  <a:t>colour</a:t>
                </a:r>
                <a:endPara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endParaRPr>
              </a:p>
              <a:p>
                <a:pPr algn="ctr"/>
                <a:r>
                  <a:rPr lang="en-US" altLang="ko-KR" sz="1400" kern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Arial Narrow" panose="020B0606020202030204" pitchFamily="34" charset="0"/>
                    <a:ea typeface="LG스마트체2.0 Regular" panose="020B0600000101010101" pitchFamily="50" charset="-127"/>
                  </a:rPr>
                  <a:t> </a:t>
                </a:r>
                <a:r>
                  <a:rPr lang="en-US" altLang="ko-KR" sz="1100" kern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Arial Narrow" panose="020B0606020202030204" pitchFamily="34" charset="0"/>
                    <a:ea typeface="LG스마트체2.0 Regular" panose="020B0600000101010101" pitchFamily="50" charset="-127"/>
                  </a:rPr>
                  <a:t>Which </a:t>
                </a:r>
                <a:r>
                  <a:rPr lang="en-US" altLang="ko-KR" sz="1100" kern="0" dirty="0" err="1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Arial Narrow" panose="020B0606020202030204" pitchFamily="34" charset="0"/>
                    <a:ea typeface="LG스마트체2.0 Regular" panose="020B0600000101010101" pitchFamily="50" charset="-127"/>
                  </a:rPr>
                  <a:t>colour</a:t>
                </a:r>
                <a:r>
                  <a:rPr lang="en-US" altLang="ko-KR" sz="1100" kern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Arial Narrow" panose="020B0606020202030204" pitchFamily="34" charset="0"/>
                    <a:ea typeface="LG스마트체2.0 Regular" panose="020B0600000101010101" pitchFamily="50" charset="-127"/>
                  </a:rPr>
                  <a:t> theme matches your interior? </a:t>
                </a:r>
                <a:endParaRPr lang="ko-KR" altLang="en-US" sz="11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endParaRPr>
              </a:p>
            </p:txBody>
          </p:sp>
        </p:grpSp>
        <p:sp>
          <p:nvSpPr>
            <p:cNvPr id="2" name="직사각형 1">
              <a:extLst>
                <a:ext uri="{FF2B5EF4-FFF2-40B4-BE49-F238E27FC236}">
                  <a16:creationId xmlns:a16="http://schemas.microsoft.com/office/drawing/2014/main" id="{453F9A7E-9415-154D-0179-9BD210FFB758}"/>
                </a:ext>
              </a:extLst>
            </p:cNvPr>
            <p:cNvSpPr/>
            <p:nvPr/>
          </p:nvSpPr>
          <p:spPr>
            <a:xfrm>
              <a:off x="4485967" y="1096084"/>
              <a:ext cx="3220066" cy="49153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0. Intro Motion</a:t>
              </a:r>
            </a:p>
            <a:p>
              <a:pPr algn="ctr"/>
              <a:r>
                <a:rPr lang="en-US" altLang="ko-KR" sz="11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Explore our guide step by step!</a:t>
              </a:r>
              <a:endParaRPr lang="ko-KR" altLang="en-US" sz="1100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147722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>
            <a:extLst>
              <a:ext uri="{FF2B5EF4-FFF2-40B4-BE49-F238E27FC236}">
                <a16:creationId xmlns:a16="http://schemas.microsoft.com/office/drawing/2014/main" id="{0BB5BE6D-B6AA-923F-B907-860518F4FAEC}"/>
              </a:ext>
            </a:extLst>
          </p:cNvPr>
          <p:cNvSpPr/>
          <p:nvPr/>
        </p:nvSpPr>
        <p:spPr>
          <a:xfrm>
            <a:off x="0" y="0"/>
            <a:ext cx="12192000" cy="4915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5237C41-6B98-DB91-1C1D-16478BFB9D17}"/>
              </a:ext>
            </a:extLst>
          </p:cNvPr>
          <p:cNvSpPr txBox="1"/>
          <p:nvPr/>
        </p:nvSpPr>
        <p:spPr>
          <a:xfrm>
            <a:off x="0" y="61102"/>
            <a:ext cx="6832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>
                <a:solidFill>
                  <a:schemeClr val="bg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Type</a:t>
            </a:r>
            <a:endParaRPr lang="ko-KR" altLang="en-US" dirty="0">
              <a:solidFill>
                <a:schemeClr val="bg1"/>
              </a:solidFill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sp>
        <p:nvSpPr>
          <p:cNvPr id="9" name="사각형: 둥근 모서리 8">
            <a:extLst>
              <a:ext uri="{FF2B5EF4-FFF2-40B4-BE49-F238E27FC236}">
                <a16:creationId xmlns:a16="http://schemas.microsoft.com/office/drawing/2014/main" id="{BB915451-E8ED-C459-FE76-3312A0C72C27}"/>
              </a:ext>
            </a:extLst>
          </p:cNvPr>
          <p:cNvSpPr/>
          <p:nvPr/>
        </p:nvSpPr>
        <p:spPr>
          <a:xfrm>
            <a:off x="616987" y="1254064"/>
            <a:ext cx="2142056" cy="267866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Appliance Finder</a:t>
            </a:r>
            <a:endParaRPr lang="ko-KR" altLang="en-US" dirty="0"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pic>
        <p:nvPicPr>
          <p:cNvPr id="23" name="그림 22">
            <a:extLst>
              <a:ext uri="{FF2B5EF4-FFF2-40B4-BE49-F238E27FC236}">
                <a16:creationId xmlns:a16="http://schemas.microsoft.com/office/drawing/2014/main" id="{AB7723FD-5C11-6CD8-FDAE-2ED5AF1527C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6987" y="1583032"/>
            <a:ext cx="5552006" cy="3650088"/>
          </a:xfrm>
          <a:prstGeom prst="rect">
            <a:avLst/>
          </a:prstGeom>
        </p:spPr>
      </p:pic>
      <p:sp>
        <p:nvSpPr>
          <p:cNvPr id="27" name="사각형: 둥근 모서리 26">
            <a:extLst>
              <a:ext uri="{FF2B5EF4-FFF2-40B4-BE49-F238E27FC236}">
                <a16:creationId xmlns:a16="http://schemas.microsoft.com/office/drawing/2014/main" id="{89E7FCF7-4A74-29DC-4D34-3291F45312A1}"/>
              </a:ext>
            </a:extLst>
          </p:cNvPr>
          <p:cNvSpPr/>
          <p:nvPr/>
        </p:nvSpPr>
        <p:spPr>
          <a:xfrm>
            <a:off x="739165" y="4968534"/>
            <a:ext cx="1727200" cy="323426"/>
          </a:xfrm>
          <a:prstGeom prst="round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ouble Door</a:t>
            </a:r>
            <a:endParaRPr lang="ko-KR" altLang="en-US" sz="9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8" name="사각형: 둥근 모서리 27">
            <a:extLst>
              <a:ext uri="{FF2B5EF4-FFF2-40B4-BE49-F238E27FC236}">
                <a16:creationId xmlns:a16="http://schemas.microsoft.com/office/drawing/2014/main" id="{FBB90DF4-7005-75BF-969A-492FC666505F}"/>
              </a:ext>
            </a:extLst>
          </p:cNvPr>
          <p:cNvSpPr/>
          <p:nvPr/>
        </p:nvSpPr>
        <p:spPr>
          <a:xfrm>
            <a:off x="2550502" y="4968534"/>
            <a:ext cx="1980316" cy="323426"/>
          </a:xfrm>
          <a:prstGeom prst="round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 err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Lader</a:t>
            </a:r>
            <a:r>
              <a:rPr lang="en-US" altLang="ko-KR" sz="9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Fridge</a:t>
            </a:r>
            <a:endParaRPr lang="ko-KR" altLang="en-US" sz="9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2C1E6941-3D20-7678-45DD-92D51A508F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35533" y="1566681"/>
            <a:ext cx="3496163" cy="1733792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AD45C8A-0927-CF76-C7AB-CBB42AFB9F12}"/>
              </a:ext>
            </a:extLst>
          </p:cNvPr>
          <p:cNvSpPr txBox="1"/>
          <p:nvPr/>
        </p:nvSpPr>
        <p:spPr>
          <a:xfrm>
            <a:off x="6626506" y="1198507"/>
            <a:ext cx="370968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1200"/>
              <a:t>더블도어 외관</a:t>
            </a:r>
            <a:endParaRPr lang="en-US" altLang="ko-KR" sz="1200" dirty="0"/>
          </a:p>
          <a:p>
            <a:r>
              <a:rPr lang="en-US" altLang="ko-KR" sz="1200" dirty="0"/>
              <a:t>https://www.lg.com/it/frigoriferi/lg-GTB744PZHZD</a:t>
            </a:r>
            <a:endParaRPr lang="ko-KR" altLang="en-US" sz="1200" dirty="0"/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286729EB-B415-6717-A02B-9EB1860FA759}"/>
              </a:ext>
            </a:extLst>
          </p:cNvPr>
          <p:cNvSpPr/>
          <p:nvPr/>
        </p:nvSpPr>
        <p:spPr>
          <a:xfrm>
            <a:off x="6562845" y="3345083"/>
            <a:ext cx="4398379" cy="4166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/>
              <a:t>더블도어</a:t>
            </a:r>
            <a:r>
              <a:rPr lang="en-US" altLang="ko-KR" sz="1400" dirty="0"/>
              <a:t>, </a:t>
            </a:r>
            <a:r>
              <a:rPr lang="ko-KR" altLang="en-US" sz="1400" dirty="0" err="1"/>
              <a:t>라더</a:t>
            </a:r>
            <a:r>
              <a:rPr lang="ko-KR" altLang="en-US" sz="1400" dirty="0"/>
              <a:t> </a:t>
            </a:r>
            <a:r>
              <a:rPr lang="ko-KR" altLang="en-US" sz="1400" dirty="0" err="1"/>
              <a:t>프리지</a:t>
            </a:r>
            <a:r>
              <a:rPr lang="ko-KR" altLang="en-US" sz="1400" dirty="0"/>
              <a:t> 라인 드로잉 추가</a:t>
            </a:r>
          </a:p>
        </p:txBody>
      </p:sp>
      <p:pic>
        <p:nvPicPr>
          <p:cNvPr id="17" name="그림 16">
            <a:extLst>
              <a:ext uri="{FF2B5EF4-FFF2-40B4-BE49-F238E27FC236}">
                <a16:creationId xmlns:a16="http://schemas.microsoft.com/office/drawing/2014/main" id="{674F7E86-14EF-E4DE-674C-D29B2B6C6F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16704" y="4324220"/>
            <a:ext cx="3982006" cy="1867161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2E7BD547-0A9C-42D2-A3C5-F740442B5981}"/>
              </a:ext>
            </a:extLst>
          </p:cNvPr>
          <p:cNvSpPr txBox="1"/>
          <p:nvPr/>
        </p:nvSpPr>
        <p:spPr>
          <a:xfrm>
            <a:off x="6557059" y="3860686"/>
            <a:ext cx="3536065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1100" dirty="0" err="1"/>
              <a:t>라더프리지</a:t>
            </a:r>
            <a:r>
              <a:rPr lang="ko-KR" altLang="en-US" sz="1100" dirty="0"/>
              <a:t> 외관</a:t>
            </a:r>
            <a:endParaRPr lang="en-US" altLang="ko-KR" sz="1100" dirty="0"/>
          </a:p>
          <a:p>
            <a:r>
              <a:rPr lang="ko-KR" altLang="en-US" sz="1100" dirty="0"/>
              <a:t>https://www.lg.com/it/frigoriferi/lg-gft41pzgsz</a:t>
            </a:r>
          </a:p>
        </p:txBody>
      </p:sp>
    </p:spTree>
    <p:extLst>
      <p:ext uri="{BB962C8B-B14F-4D97-AF65-F5344CB8AC3E}">
        <p14:creationId xmlns:p14="http://schemas.microsoft.com/office/powerpoint/2010/main" val="26330889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3DFDC5D9-4963-8747-E6A4-D29559CFABEB}"/>
              </a:ext>
            </a:extLst>
          </p:cNvPr>
          <p:cNvSpPr/>
          <p:nvPr/>
        </p:nvSpPr>
        <p:spPr>
          <a:xfrm>
            <a:off x="0" y="0"/>
            <a:ext cx="12192000" cy="4915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456DB45-C448-5476-60BD-58442133149C}"/>
              </a:ext>
            </a:extLst>
          </p:cNvPr>
          <p:cNvSpPr txBox="1"/>
          <p:nvPr/>
        </p:nvSpPr>
        <p:spPr>
          <a:xfrm>
            <a:off x="0" y="61102"/>
            <a:ext cx="19207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 err="1">
                <a:solidFill>
                  <a:schemeClr val="bg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Type_Interactive</a:t>
            </a:r>
            <a:endParaRPr lang="ko-KR" altLang="en-US" dirty="0">
              <a:solidFill>
                <a:schemeClr val="bg1"/>
              </a:solidFill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grpSp>
        <p:nvGrpSpPr>
          <p:cNvPr id="1031" name="그룹 1030">
            <a:extLst>
              <a:ext uri="{FF2B5EF4-FFF2-40B4-BE49-F238E27FC236}">
                <a16:creationId xmlns:a16="http://schemas.microsoft.com/office/drawing/2014/main" id="{C1EC44BA-6684-EA5F-0564-30B75DC79AB6}"/>
              </a:ext>
            </a:extLst>
          </p:cNvPr>
          <p:cNvGrpSpPr/>
          <p:nvPr/>
        </p:nvGrpSpPr>
        <p:grpSpPr>
          <a:xfrm>
            <a:off x="526144" y="596447"/>
            <a:ext cx="11099800" cy="5986732"/>
            <a:chOff x="0" y="2847373"/>
            <a:chExt cx="5407977" cy="2916819"/>
          </a:xfrm>
        </p:grpSpPr>
        <p:pic>
          <p:nvPicPr>
            <p:cNvPr id="5" name="그림 4">
              <a:extLst>
                <a:ext uri="{FF2B5EF4-FFF2-40B4-BE49-F238E27FC236}">
                  <a16:creationId xmlns:a16="http://schemas.microsoft.com/office/drawing/2014/main" id="{01E1E2DD-4E7C-1410-F794-D512754E37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2847373"/>
              <a:ext cx="5407977" cy="2916819"/>
            </a:xfrm>
            <a:prstGeom prst="rect">
              <a:avLst/>
            </a:prstGeom>
          </p:spPr>
        </p:pic>
        <p:pic>
          <p:nvPicPr>
            <p:cNvPr id="31" name="그림 30">
              <a:extLst>
                <a:ext uri="{FF2B5EF4-FFF2-40B4-BE49-F238E27FC236}">
                  <a16:creationId xmlns:a16="http://schemas.microsoft.com/office/drawing/2014/main" id="{3337E123-0CA6-C1CD-C76D-06E7D46D41F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463041" y="3581400"/>
              <a:ext cx="2895600" cy="822960"/>
            </a:xfrm>
            <a:prstGeom prst="rect">
              <a:avLst/>
            </a:prstGeom>
          </p:spPr>
        </p:pic>
        <p:pic>
          <p:nvPicPr>
            <p:cNvPr id="8" name="그림 7">
              <a:extLst>
                <a:ext uri="{FF2B5EF4-FFF2-40B4-BE49-F238E27FC236}">
                  <a16:creationId xmlns:a16="http://schemas.microsoft.com/office/drawing/2014/main" id="{304ED5ED-F11C-EDC6-7943-206BD63F1BC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001798" y="3646315"/>
              <a:ext cx="428263" cy="873320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6FD758A9-B4AF-4412-F064-B077A3941370}"/>
                </a:ext>
              </a:extLst>
            </p:cNvPr>
            <p:cNvSpPr txBox="1"/>
            <p:nvPr/>
          </p:nvSpPr>
          <p:spPr>
            <a:xfrm>
              <a:off x="1303682" y="3173416"/>
              <a:ext cx="2992055" cy="41921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600" dirty="0">
                  <a:highlight>
                    <a:srgbClr val="C0C0C0"/>
                  </a:highlight>
                </a:rPr>
                <a:t>냉장실을 크게 쓰고 싶은 사람들의</a:t>
              </a:r>
              <a:endParaRPr lang="en-US" altLang="ko-KR" sz="1600" dirty="0">
                <a:highlight>
                  <a:srgbClr val="C0C0C0"/>
                </a:highlight>
              </a:endParaRPr>
            </a:p>
            <a:p>
              <a:pPr algn="ctr"/>
              <a:r>
                <a:rPr lang="ko-KR" altLang="en-US" sz="1600" dirty="0">
                  <a:highlight>
                    <a:srgbClr val="C0C0C0"/>
                  </a:highlight>
                </a:rPr>
                <a:t>기본에 충실한 냉장고</a:t>
              </a:r>
            </a:p>
          </p:txBody>
        </p:sp>
        <p:pic>
          <p:nvPicPr>
            <p:cNvPr id="17" name="그림 16">
              <a:extLst>
                <a:ext uri="{FF2B5EF4-FFF2-40B4-BE49-F238E27FC236}">
                  <a16:creationId xmlns:a16="http://schemas.microsoft.com/office/drawing/2014/main" id="{31173E1D-2A0B-12AB-4F2E-7799A307265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727961" y="3550920"/>
              <a:ext cx="320039" cy="320039"/>
            </a:xfrm>
            <a:prstGeom prst="rect">
              <a:avLst/>
            </a:prstGeom>
          </p:spPr>
        </p:pic>
        <p:pic>
          <p:nvPicPr>
            <p:cNvPr id="18" name="그림 17">
              <a:extLst>
                <a:ext uri="{FF2B5EF4-FFF2-40B4-BE49-F238E27FC236}">
                  <a16:creationId xmlns:a16="http://schemas.microsoft.com/office/drawing/2014/main" id="{3A8A4E22-F2D0-B0BF-742E-7B100BD3610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386138" y="4124801"/>
              <a:ext cx="281939" cy="281939"/>
            </a:xfrm>
            <a:prstGeom prst="rect">
              <a:avLst/>
            </a:prstGeom>
          </p:spPr>
        </p:pic>
        <p:cxnSp>
          <p:nvCxnSpPr>
            <p:cNvPr id="23" name="직선 화살표 연결선 22">
              <a:extLst>
                <a:ext uri="{FF2B5EF4-FFF2-40B4-BE49-F238E27FC236}">
                  <a16:creationId xmlns:a16="http://schemas.microsoft.com/office/drawing/2014/main" id="{658A5F33-EF1B-E326-213C-F4F57364AA36}"/>
                </a:ext>
              </a:extLst>
            </p:cNvPr>
            <p:cNvCxnSpPr>
              <a:cxnSpLocks/>
            </p:cNvCxnSpPr>
            <p:nvPr/>
          </p:nvCxnSpPr>
          <p:spPr>
            <a:xfrm>
              <a:off x="2921317" y="4024790"/>
              <a:ext cx="512445" cy="0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70B819C0-A8AE-2B23-B67F-FA73A6AAF6AB}"/>
                </a:ext>
              </a:extLst>
            </p:cNvPr>
            <p:cNvSpPr txBox="1"/>
            <p:nvPr/>
          </p:nvSpPr>
          <p:spPr>
            <a:xfrm>
              <a:off x="2907778" y="4041056"/>
              <a:ext cx="936569" cy="1124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ko-KR" altLang="en-US" sz="900" dirty="0">
                  <a:highlight>
                    <a:srgbClr val="FFFF00"/>
                  </a:highlight>
                </a:rPr>
                <a:t>가로가 더 넓어졌다</a:t>
              </a:r>
              <a:r>
                <a:rPr lang="en-US" altLang="ko-KR" sz="900" dirty="0">
                  <a:highlight>
                    <a:srgbClr val="FFFF00"/>
                  </a:highlight>
                </a:rPr>
                <a:t>?</a:t>
              </a:r>
              <a:r>
                <a:rPr lang="ko-KR" altLang="en-US" sz="900" dirty="0">
                  <a:highlight>
                    <a:srgbClr val="FFFF00"/>
                  </a:highlight>
                </a:rPr>
                <a:t>의 느낌</a:t>
              </a:r>
            </a:p>
          </p:txBody>
        </p:sp>
        <p:cxnSp>
          <p:nvCxnSpPr>
            <p:cNvPr id="27" name="직선 화살표 연결선 26">
              <a:extLst>
                <a:ext uri="{FF2B5EF4-FFF2-40B4-BE49-F238E27FC236}">
                  <a16:creationId xmlns:a16="http://schemas.microsoft.com/office/drawing/2014/main" id="{D3ECCE9B-5DA2-9259-8D06-63026351A006}"/>
                </a:ext>
              </a:extLst>
            </p:cNvPr>
            <p:cNvCxnSpPr>
              <a:cxnSpLocks/>
            </p:cNvCxnSpPr>
            <p:nvPr/>
          </p:nvCxnSpPr>
          <p:spPr>
            <a:xfrm>
              <a:off x="2930842" y="4062891"/>
              <a:ext cx="0" cy="375760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9" name="Picture 2" descr="best seller &amp; Tall Fridge Freezer">
              <a:extLst>
                <a:ext uri="{FF2B5EF4-FFF2-40B4-BE49-F238E27FC236}">
                  <a16:creationId xmlns:a16="http://schemas.microsoft.com/office/drawing/2014/main" id="{D1EF6627-395C-BC7B-D119-EA5635CD31E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333625" y="3838576"/>
              <a:ext cx="561975" cy="3762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21177A40-03B7-38F4-CF3E-4191A67AF276}"/>
                </a:ext>
              </a:extLst>
            </p:cNvPr>
            <p:cNvSpPr txBox="1"/>
            <p:nvPr/>
          </p:nvSpPr>
          <p:spPr>
            <a:xfrm>
              <a:off x="2392576" y="3969254"/>
              <a:ext cx="488201" cy="1124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altLang="ko-KR" sz="900" dirty="0">
                  <a:highlight>
                    <a:srgbClr val="FFFF00"/>
                  </a:highlight>
                </a:rPr>
                <a:t>Back</a:t>
              </a:r>
              <a:r>
                <a:rPr lang="ko-KR" altLang="en-US" sz="900" dirty="0">
                  <a:highlight>
                    <a:srgbClr val="FFFF00"/>
                  </a:highlight>
                </a:rPr>
                <a:t> </a:t>
              </a:r>
              <a:r>
                <a:rPr lang="en-US" altLang="ko-KR" sz="900" dirty="0">
                  <a:highlight>
                    <a:srgbClr val="FFFF00"/>
                  </a:highlight>
                </a:rPr>
                <a:t>to</a:t>
              </a:r>
              <a:r>
                <a:rPr lang="ko-KR" altLang="en-US" sz="900" dirty="0">
                  <a:highlight>
                    <a:srgbClr val="FFFF00"/>
                  </a:highlight>
                </a:rPr>
                <a:t> </a:t>
              </a:r>
              <a:r>
                <a:rPr lang="en-US" altLang="ko-KR" sz="900" dirty="0">
                  <a:highlight>
                    <a:srgbClr val="FFFF00"/>
                  </a:highlight>
                </a:rPr>
                <a:t>Basic</a:t>
              </a:r>
              <a:endParaRPr lang="ko-KR" altLang="en-US" sz="900" dirty="0">
                <a:highlight>
                  <a:srgbClr val="FFFF00"/>
                </a:highlight>
              </a:endParaRPr>
            </a:p>
          </p:txBody>
        </p:sp>
        <p:sp>
          <p:nvSpPr>
            <p:cNvPr id="1024" name="TextBox 1023">
              <a:extLst>
                <a:ext uri="{FF2B5EF4-FFF2-40B4-BE49-F238E27FC236}">
                  <a16:creationId xmlns:a16="http://schemas.microsoft.com/office/drawing/2014/main" id="{B2B65631-33F7-7101-A437-D7657757E4EB}"/>
                </a:ext>
              </a:extLst>
            </p:cNvPr>
            <p:cNvSpPr txBox="1"/>
            <p:nvPr/>
          </p:nvSpPr>
          <p:spPr>
            <a:xfrm>
              <a:off x="2901429" y="3526706"/>
              <a:ext cx="845071" cy="1124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ko-KR" altLang="en-US" sz="900" dirty="0" err="1">
                  <a:highlight>
                    <a:srgbClr val="FFFF00"/>
                  </a:highlight>
                </a:rPr>
                <a:t>상냉동</a:t>
              </a:r>
              <a:r>
                <a:rPr lang="ko-KR" altLang="en-US" sz="900" dirty="0">
                  <a:highlight>
                    <a:srgbClr val="FFFF00"/>
                  </a:highlight>
                </a:rPr>
                <a:t> </a:t>
              </a:r>
              <a:r>
                <a:rPr lang="ko-KR" altLang="en-US" sz="900" dirty="0" err="1">
                  <a:highlight>
                    <a:srgbClr val="FFFF00"/>
                  </a:highlight>
                </a:rPr>
                <a:t>하냉장</a:t>
              </a:r>
              <a:endParaRPr lang="ko-KR" altLang="en-US" sz="900" dirty="0">
                <a:highlight>
                  <a:srgbClr val="FFFF00"/>
                </a:highlight>
              </a:endParaRPr>
            </a:p>
          </p:txBody>
        </p:sp>
        <p:pic>
          <p:nvPicPr>
            <p:cNvPr id="1030" name="Picture 6" descr="family &amp; Multi Door Fridge Freezer">
              <a:extLst>
                <a:ext uri="{FF2B5EF4-FFF2-40B4-BE49-F238E27FC236}">
                  <a16:creationId xmlns:a16="http://schemas.microsoft.com/office/drawing/2014/main" id="{B1C50C3D-AABD-2D31-8F0F-1F812418EDE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898248" y="3611301"/>
              <a:ext cx="288044" cy="9028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29" name="TextBox 1028">
              <a:extLst>
                <a:ext uri="{FF2B5EF4-FFF2-40B4-BE49-F238E27FC236}">
                  <a16:creationId xmlns:a16="http://schemas.microsoft.com/office/drawing/2014/main" id="{3A079347-AAE1-9CDA-14CD-698362DF7F82}"/>
                </a:ext>
              </a:extLst>
            </p:cNvPr>
            <p:cNvSpPr txBox="1"/>
            <p:nvPr/>
          </p:nvSpPr>
          <p:spPr>
            <a:xfrm>
              <a:off x="1712391" y="4469682"/>
              <a:ext cx="1107009" cy="1124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ko-KR" altLang="en-US" sz="900" dirty="0">
                  <a:highlight>
                    <a:srgbClr val="FFFF00"/>
                  </a:highlight>
                </a:rPr>
                <a:t>인물은 </a:t>
              </a:r>
              <a:r>
                <a:rPr lang="en-US" altLang="ko-KR" sz="900" dirty="0">
                  <a:highlight>
                    <a:srgbClr val="FFFF00"/>
                  </a:highlight>
                </a:rPr>
                <a:t>1~2</a:t>
              </a:r>
              <a:r>
                <a:rPr lang="ko-KR" altLang="en-US" sz="900" dirty="0">
                  <a:highlight>
                    <a:srgbClr val="FFFF00"/>
                  </a:highlight>
                </a:rPr>
                <a:t>명만 등장</a:t>
              </a:r>
              <a:r>
                <a:rPr lang="en-US" altLang="ko-KR" sz="900" dirty="0">
                  <a:highlight>
                    <a:srgbClr val="FFFF00"/>
                  </a:highlight>
                </a:rPr>
                <a:t>(</a:t>
              </a:r>
              <a:r>
                <a:rPr lang="ko-KR" altLang="en-US" sz="900" dirty="0">
                  <a:highlight>
                    <a:srgbClr val="FFFF00"/>
                  </a:highlight>
                </a:rPr>
                <a:t>중간용량</a:t>
              </a:r>
              <a:r>
                <a:rPr lang="en-US" altLang="ko-KR" sz="900" dirty="0">
                  <a:highlight>
                    <a:srgbClr val="FFFF00"/>
                  </a:highlight>
                </a:rPr>
                <a:t>)</a:t>
              </a:r>
              <a:endParaRPr lang="ko-KR" altLang="en-US" sz="900" dirty="0">
                <a:highlight>
                  <a:srgbClr val="FFFF00"/>
                </a:highligh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063870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3DFDC5D9-4963-8747-E6A4-D29559CFABEB}"/>
              </a:ext>
            </a:extLst>
          </p:cNvPr>
          <p:cNvSpPr/>
          <p:nvPr/>
        </p:nvSpPr>
        <p:spPr>
          <a:xfrm>
            <a:off x="0" y="0"/>
            <a:ext cx="12192000" cy="4915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456DB45-C448-5476-60BD-58442133149C}"/>
              </a:ext>
            </a:extLst>
          </p:cNvPr>
          <p:cNvSpPr txBox="1"/>
          <p:nvPr/>
        </p:nvSpPr>
        <p:spPr>
          <a:xfrm>
            <a:off x="0" y="61102"/>
            <a:ext cx="19207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 err="1">
                <a:solidFill>
                  <a:schemeClr val="bg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Type_Interactive</a:t>
            </a:r>
            <a:endParaRPr lang="ko-KR" altLang="en-US" dirty="0">
              <a:solidFill>
                <a:schemeClr val="bg1"/>
              </a:solidFill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C33C1263-B0EF-6A0B-C5F6-EA477ED360C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61630" y="1504710"/>
            <a:ext cx="613460" cy="152785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41C036E1-5BBC-615D-4D8C-ACAC5A21906F}"/>
              </a:ext>
            </a:extLst>
          </p:cNvPr>
          <p:cNvSpPr txBox="1"/>
          <p:nvPr/>
        </p:nvSpPr>
        <p:spPr>
          <a:xfrm>
            <a:off x="5654233" y="586241"/>
            <a:ext cx="6123006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1100" dirty="0"/>
              <a:t> </a:t>
            </a:r>
            <a:r>
              <a:rPr lang="ko-KR" altLang="en-US" sz="1100" dirty="0" err="1"/>
              <a:t>냉장,냉동</a:t>
            </a:r>
            <a:r>
              <a:rPr lang="ko-KR" altLang="en-US" sz="1100" dirty="0"/>
              <a:t> 별도로 </a:t>
            </a:r>
            <a:r>
              <a:rPr lang="ko-KR" altLang="en-US" sz="1100" dirty="0" err="1"/>
              <a:t>큰공간이</a:t>
            </a:r>
            <a:r>
              <a:rPr lang="ko-KR" altLang="en-US" sz="1100" dirty="0"/>
              <a:t> 필요한 사람한테, 2nd 냉장고가 필요한 </a:t>
            </a:r>
            <a:r>
              <a:rPr lang="ko-KR" altLang="en-US" sz="1100" dirty="0" err="1"/>
              <a:t>사람들한테</a:t>
            </a:r>
            <a:r>
              <a:rPr lang="ko-KR" altLang="en-US" sz="1100" dirty="0"/>
              <a:t> 선호 </a:t>
            </a:r>
          </a:p>
          <a:p>
            <a:r>
              <a:rPr lang="ko-KR" altLang="en-US" sz="1100" dirty="0"/>
              <a:t>--&gt; 냉장실 냉동실의 </a:t>
            </a:r>
            <a:r>
              <a:rPr lang="ko-KR" altLang="en-US" sz="1100" dirty="0" err="1"/>
              <a:t>사용감</a:t>
            </a:r>
            <a:r>
              <a:rPr lang="ko-KR" altLang="en-US" sz="1100" dirty="0"/>
              <a:t> 극대화, 세트개념, </a:t>
            </a:r>
            <a:r>
              <a:rPr lang="ko-KR" altLang="en-US" sz="1100" dirty="0" err="1"/>
              <a:t>Miximize</a:t>
            </a:r>
            <a:r>
              <a:rPr lang="ko-KR" altLang="en-US" sz="1100" dirty="0"/>
              <a:t> SXS, 추가적인 공간 확보, 유럽에서는 세트 구매가 많음 </a:t>
            </a:r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B4CDF729-C647-E4B0-EE9A-8E70A25E83A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29016" y="2103028"/>
            <a:ext cx="5943180" cy="1689114"/>
          </a:xfrm>
          <a:prstGeom prst="rect">
            <a:avLst/>
          </a:prstGeom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B6FE539F-4F42-35E7-15F2-B24890BC522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6144" y="596447"/>
            <a:ext cx="11099800" cy="5986732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74A51C48-11EF-2075-4A73-6A31EE6B7CD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90916" y="2141128"/>
            <a:ext cx="5943180" cy="168911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212BDA4D-68B6-99FD-2798-0B2B0EA24CD4}"/>
              </a:ext>
            </a:extLst>
          </p:cNvPr>
          <p:cNvSpPr txBox="1"/>
          <p:nvPr/>
        </p:nvSpPr>
        <p:spPr>
          <a:xfrm>
            <a:off x="2430409" y="1056096"/>
            <a:ext cx="783754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600" dirty="0">
                <a:highlight>
                  <a:srgbClr val="C0C0C0"/>
                </a:highlight>
              </a:rPr>
              <a:t>냉장</a:t>
            </a:r>
            <a:r>
              <a:rPr lang="en-US" altLang="ko-KR" sz="1600" dirty="0">
                <a:highlight>
                  <a:srgbClr val="C0C0C0"/>
                </a:highlight>
              </a:rPr>
              <a:t>,</a:t>
            </a:r>
            <a:r>
              <a:rPr lang="ko-KR" altLang="en-US" sz="1600" dirty="0">
                <a:highlight>
                  <a:srgbClr val="C0C0C0"/>
                </a:highlight>
              </a:rPr>
              <a:t>냉동 별도로 </a:t>
            </a:r>
            <a:r>
              <a:rPr lang="ko-KR" altLang="en-US" sz="1600" dirty="0" err="1">
                <a:highlight>
                  <a:srgbClr val="C0C0C0"/>
                </a:highlight>
              </a:rPr>
              <a:t>큰공간이</a:t>
            </a:r>
            <a:r>
              <a:rPr lang="ko-KR" altLang="en-US" sz="1600" dirty="0">
                <a:highlight>
                  <a:srgbClr val="C0C0C0"/>
                </a:highlight>
              </a:rPr>
              <a:t> 필요한 사람한테</a:t>
            </a:r>
            <a:r>
              <a:rPr lang="en-US" altLang="ko-KR" sz="1600" dirty="0">
                <a:highlight>
                  <a:srgbClr val="C0C0C0"/>
                </a:highlight>
              </a:rPr>
              <a:t>, 2nd </a:t>
            </a:r>
            <a:r>
              <a:rPr lang="ko-KR" altLang="en-US" sz="1600" dirty="0">
                <a:highlight>
                  <a:srgbClr val="C0C0C0"/>
                </a:highlight>
              </a:rPr>
              <a:t>냉장고가 필요한 </a:t>
            </a:r>
            <a:r>
              <a:rPr lang="ko-KR" altLang="en-US" sz="1600" dirty="0" err="1">
                <a:highlight>
                  <a:srgbClr val="C0C0C0"/>
                </a:highlight>
              </a:rPr>
              <a:t>사람들한테</a:t>
            </a:r>
            <a:r>
              <a:rPr lang="ko-KR" altLang="en-US" sz="1600" dirty="0">
                <a:highlight>
                  <a:srgbClr val="C0C0C0"/>
                </a:highlight>
              </a:rPr>
              <a:t> 선호 </a:t>
            </a:r>
          </a:p>
          <a:p>
            <a:pPr algn="ctr"/>
            <a:r>
              <a:rPr lang="en-US" altLang="ko-KR" sz="1600" dirty="0">
                <a:highlight>
                  <a:srgbClr val="C0C0C0"/>
                </a:highlight>
              </a:rPr>
              <a:t>--&gt; </a:t>
            </a:r>
            <a:r>
              <a:rPr lang="ko-KR" altLang="en-US" sz="1600" dirty="0">
                <a:highlight>
                  <a:srgbClr val="C0C0C0"/>
                </a:highlight>
              </a:rPr>
              <a:t>냉장실 냉동실의 </a:t>
            </a:r>
            <a:r>
              <a:rPr lang="ko-KR" altLang="en-US" sz="1600" dirty="0" err="1">
                <a:highlight>
                  <a:srgbClr val="C0C0C0"/>
                </a:highlight>
              </a:rPr>
              <a:t>사용감</a:t>
            </a:r>
            <a:r>
              <a:rPr lang="ko-KR" altLang="en-US" sz="1600" dirty="0">
                <a:highlight>
                  <a:srgbClr val="C0C0C0"/>
                </a:highlight>
              </a:rPr>
              <a:t> 극대화</a:t>
            </a:r>
            <a:r>
              <a:rPr lang="en-US" altLang="ko-KR" sz="1600" dirty="0">
                <a:highlight>
                  <a:srgbClr val="C0C0C0"/>
                </a:highlight>
              </a:rPr>
              <a:t>, </a:t>
            </a:r>
            <a:r>
              <a:rPr lang="ko-KR" altLang="en-US" sz="1600" dirty="0">
                <a:highlight>
                  <a:srgbClr val="C0C0C0"/>
                </a:highlight>
              </a:rPr>
              <a:t>세트개념</a:t>
            </a:r>
            <a:r>
              <a:rPr lang="en-US" altLang="ko-KR" sz="1600" dirty="0">
                <a:highlight>
                  <a:srgbClr val="C0C0C0"/>
                </a:highlight>
              </a:rPr>
              <a:t>, </a:t>
            </a:r>
            <a:r>
              <a:rPr lang="en-US" altLang="ko-KR" sz="1600" dirty="0" err="1">
                <a:highlight>
                  <a:srgbClr val="C0C0C0"/>
                </a:highlight>
              </a:rPr>
              <a:t>Miximize</a:t>
            </a:r>
            <a:r>
              <a:rPr lang="en-US" altLang="ko-KR" sz="1600" dirty="0">
                <a:highlight>
                  <a:srgbClr val="C0C0C0"/>
                </a:highlight>
              </a:rPr>
              <a:t> SXS, </a:t>
            </a:r>
            <a:r>
              <a:rPr lang="ko-KR" altLang="en-US" sz="1600" dirty="0">
                <a:highlight>
                  <a:srgbClr val="C0C0C0"/>
                </a:highlight>
              </a:rPr>
              <a:t>추가적인 공간 확보</a:t>
            </a:r>
            <a:r>
              <a:rPr lang="en-US" altLang="ko-KR" sz="1600" dirty="0">
                <a:highlight>
                  <a:srgbClr val="C0C0C0"/>
                </a:highlight>
              </a:rPr>
              <a:t>, </a:t>
            </a:r>
            <a:r>
              <a:rPr lang="ko-KR" altLang="en-US" sz="1600" dirty="0">
                <a:highlight>
                  <a:srgbClr val="C0C0C0"/>
                </a:highlight>
              </a:rPr>
              <a:t>유럽에서는 세트 구매가 많음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EB0C1B3-39D9-34C0-D5FC-90ACACE81A2B}"/>
              </a:ext>
            </a:extLst>
          </p:cNvPr>
          <p:cNvSpPr txBox="1"/>
          <p:nvPr/>
        </p:nvSpPr>
        <p:spPr>
          <a:xfrm>
            <a:off x="8370744" y="2846440"/>
            <a:ext cx="1922295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900" dirty="0">
                <a:highlight>
                  <a:srgbClr val="FFFF00"/>
                </a:highlight>
              </a:rPr>
              <a:t>냉동 냉장 따로따로 있음</a:t>
            </a:r>
            <a:endParaRPr lang="en-US" altLang="ko-KR" sz="900" dirty="0">
              <a:highlight>
                <a:srgbClr val="FFFF00"/>
              </a:highlight>
            </a:endParaRPr>
          </a:p>
          <a:p>
            <a:r>
              <a:rPr lang="ko-KR" altLang="en-US" sz="900" dirty="0" err="1">
                <a:highlight>
                  <a:srgbClr val="FFFF00"/>
                </a:highlight>
              </a:rPr>
              <a:t>플랫한</a:t>
            </a:r>
            <a:r>
              <a:rPr lang="ko-KR" altLang="en-US" sz="900" dirty="0">
                <a:highlight>
                  <a:srgbClr val="FFFF00"/>
                </a:highlight>
              </a:rPr>
              <a:t> 디자인으로 기존 </a:t>
            </a:r>
            <a:r>
              <a:rPr lang="en-US" altLang="ko-KR" sz="900" dirty="0" err="1">
                <a:highlight>
                  <a:srgbClr val="FFFF00"/>
                </a:highlight>
              </a:rPr>
              <a:t>SxS</a:t>
            </a:r>
            <a:r>
              <a:rPr lang="ko-KR" altLang="en-US" sz="900" dirty="0">
                <a:highlight>
                  <a:srgbClr val="FFFF00"/>
                </a:highlight>
              </a:rPr>
              <a:t>보다</a:t>
            </a:r>
            <a:endParaRPr lang="en-US" altLang="ko-KR" sz="900" dirty="0">
              <a:highlight>
                <a:srgbClr val="FFFF00"/>
              </a:highlight>
            </a:endParaRPr>
          </a:p>
          <a:p>
            <a:r>
              <a:rPr lang="ko-KR" altLang="en-US" sz="900" dirty="0">
                <a:highlight>
                  <a:srgbClr val="FFFF00"/>
                </a:highlight>
              </a:rPr>
              <a:t>용량이 큼</a:t>
            </a:r>
          </a:p>
        </p:txBody>
      </p:sp>
      <p:sp>
        <p:nvSpPr>
          <p:cNvPr id="1025" name="TextBox 1024">
            <a:extLst>
              <a:ext uri="{FF2B5EF4-FFF2-40B4-BE49-F238E27FC236}">
                <a16:creationId xmlns:a16="http://schemas.microsoft.com/office/drawing/2014/main" id="{AF9ACF01-F58B-1D9B-2DA4-3DA30B0A61A5}"/>
              </a:ext>
            </a:extLst>
          </p:cNvPr>
          <p:cNvSpPr txBox="1"/>
          <p:nvPr/>
        </p:nvSpPr>
        <p:spPr>
          <a:xfrm>
            <a:off x="3890333" y="3150710"/>
            <a:ext cx="227212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900" dirty="0">
                <a:highlight>
                  <a:srgbClr val="FFFF00"/>
                </a:highlight>
              </a:rPr>
              <a:t>인물은 </a:t>
            </a:r>
            <a:r>
              <a:rPr lang="en-US" altLang="ko-KR" sz="900" dirty="0">
                <a:highlight>
                  <a:srgbClr val="FFFF00"/>
                </a:highlight>
              </a:rPr>
              <a:t>3~4</a:t>
            </a:r>
            <a:r>
              <a:rPr lang="ko-KR" altLang="en-US" sz="900" dirty="0">
                <a:highlight>
                  <a:srgbClr val="FFFF00"/>
                </a:highlight>
              </a:rPr>
              <a:t>명 등장 </a:t>
            </a:r>
            <a:r>
              <a:rPr lang="ko-KR" altLang="en-US" sz="900" dirty="0" err="1">
                <a:highlight>
                  <a:srgbClr val="FFFF00"/>
                </a:highlight>
              </a:rPr>
              <a:t>세컨냉장고</a:t>
            </a:r>
            <a:r>
              <a:rPr lang="ko-KR" altLang="en-US" sz="900" dirty="0">
                <a:highlight>
                  <a:srgbClr val="FFFF00"/>
                </a:highlight>
              </a:rPr>
              <a:t> 개념이므로 대가족 느낌</a:t>
            </a:r>
          </a:p>
        </p:txBody>
      </p:sp>
      <p:grpSp>
        <p:nvGrpSpPr>
          <p:cNvPr id="1048" name="그룹 1047">
            <a:extLst>
              <a:ext uri="{FF2B5EF4-FFF2-40B4-BE49-F238E27FC236}">
                <a16:creationId xmlns:a16="http://schemas.microsoft.com/office/drawing/2014/main" id="{964544EF-510D-B450-AC05-199D85BD55AD}"/>
              </a:ext>
            </a:extLst>
          </p:cNvPr>
          <p:cNvGrpSpPr/>
          <p:nvPr/>
        </p:nvGrpSpPr>
        <p:grpSpPr>
          <a:xfrm>
            <a:off x="6118225" y="1888068"/>
            <a:ext cx="2327123" cy="2346072"/>
            <a:chOff x="7861300" y="2202393"/>
            <a:chExt cx="2327123" cy="2346072"/>
          </a:xfrm>
        </p:grpSpPr>
        <p:pic>
          <p:nvPicPr>
            <p:cNvPr id="1047" name="그림 1046">
              <a:extLst>
                <a:ext uri="{FF2B5EF4-FFF2-40B4-BE49-F238E27FC236}">
                  <a16:creationId xmlns:a16="http://schemas.microsoft.com/office/drawing/2014/main" id="{819C620A-5B86-D950-B56F-17C4E5382B5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861300" y="2597092"/>
              <a:ext cx="2184400" cy="1951373"/>
            </a:xfrm>
            <a:prstGeom prst="rect">
              <a:avLst/>
            </a:prstGeom>
          </p:spPr>
        </p:pic>
        <p:pic>
          <p:nvPicPr>
            <p:cNvPr id="16" name="그림 15">
              <a:extLst>
                <a:ext uri="{FF2B5EF4-FFF2-40B4-BE49-F238E27FC236}">
                  <a16:creationId xmlns:a16="http://schemas.microsoft.com/office/drawing/2014/main" id="{0DCAC56C-7903-949F-282B-15E994E7021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609747" y="2456351"/>
              <a:ext cx="578676" cy="578676"/>
            </a:xfrm>
            <a:prstGeom prst="rect">
              <a:avLst/>
            </a:prstGeom>
          </p:spPr>
        </p:pic>
        <p:pic>
          <p:nvPicPr>
            <p:cNvPr id="15" name="그림 14">
              <a:extLst>
                <a:ext uri="{FF2B5EF4-FFF2-40B4-BE49-F238E27FC236}">
                  <a16:creationId xmlns:a16="http://schemas.microsoft.com/office/drawing/2014/main" id="{819AF48A-1116-3175-C61E-F4028C18B1B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525547" y="2202393"/>
              <a:ext cx="656876" cy="656876"/>
            </a:xfrm>
            <a:prstGeom prst="rect">
              <a:avLst/>
            </a:prstGeom>
          </p:spPr>
        </p:pic>
      </p:grpSp>
      <p:sp>
        <p:nvSpPr>
          <p:cNvPr id="1050" name="TextBox 1049">
            <a:extLst>
              <a:ext uri="{FF2B5EF4-FFF2-40B4-BE49-F238E27FC236}">
                <a16:creationId xmlns:a16="http://schemas.microsoft.com/office/drawing/2014/main" id="{2011FBBE-2739-F3C4-AFE7-E4224DC1157F}"/>
              </a:ext>
            </a:extLst>
          </p:cNvPr>
          <p:cNvSpPr txBox="1"/>
          <p:nvPr/>
        </p:nvSpPr>
        <p:spPr>
          <a:xfrm>
            <a:off x="916781" y="610671"/>
            <a:ext cx="611981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1200" dirty="0"/>
              <a:t>https://www.lg.com/it/frigoriferi/lg-gft41pzgsz</a:t>
            </a:r>
          </a:p>
        </p:txBody>
      </p:sp>
      <p:pic>
        <p:nvPicPr>
          <p:cNvPr id="2052" name="Picture 4" descr="Elegant design">
            <a:extLst>
              <a:ext uri="{FF2B5EF4-FFF2-40B4-BE49-F238E27FC236}">
                <a16:creationId xmlns:a16="http://schemas.microsoft.com/office/drawing/2014/main" id="{3A9B519D-EEAC-9C6E-3A95-B5DA9B8FC9A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68101" y="3834793"/>
            <a:ext cx="1678330" cy="25997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4217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>
            <a:extLst>
              <a:ext uri="{FF2B5EF4-FFF2-40B4-BE49-F238E27FC236}">
                <a16:creationId xmlns:a16="http://schemas.microsoft.com/office/drawing/2014/main" id="{66789F17-7905-E449-FFBB-998856BD3DDA}"/>
              </a:ext>
            </a:extLst>
          </p:cNvPr>
          <p:cNvSpPr/>
          <p:nvPr/>
        </p:nvSpPr>
        <p:spPr>
          <a:xfrm>
            <a:off x="0" y="0"/>
            <a:ext cx="12192000" cy="4915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0106A58-D501-2881-A678-32FF6E908B52}"/>
              </a:ext>
            </a:extLst>
          </p:cNvPr>
          <p:cNvSpPr txBox="1"/>
          <p:nvPr/>
        </p:nvSpPr>
        <p:spPr>
          <a:xfrm>
            <a:off x="0" y="61102"/>
            <a:ext cx="10903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>
                <a:solidFill>
                  <a:schemeClr val="bg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Capacity</a:t>
            </a:r>
            <a:endParaRPr lang="ko-KR" altLang="en-US" dirty="0">
              <a:solidFill>
                <a:schemeClr val="bg1"/>
              </a:solidFill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sp>
        <p:nvSpPr>
          <p:cNvPr id="42" name="사각형: 둥근 모서리 41">
            <a:extLst>
              <a:ext uri="{FF2B5EF4-FFF2-40B4-BE49-F238E27FC236}">
                <a16:creationId xmlns:a16="http://schemas.microsoft.com/office/drawing/2014/main" id="{05708893-9BF7-1832-0CC5-65645F91E7AB}"/>
              </a:ext>
            </a:extLst>
          </p:cNvPr>
          <p:cNvSpPr/>
          <p:nvPr/>
        </p:nvSpPr>
        <p:spPr>
          <a:xfrm>
            <a:off x="10714377" y="620713"/>
            <a:ext cx="1106148" cy="207132"/>
          </a:xfrm>
          <a:prstGeom prst="round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9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62D2991-9B4D-DEFD-37F7-EBB544732A83}"/>
              </a:ext>
            </a:extLst>
          </p:cNvPr>
          <p:cNvSpPr txBox="1"/>
          <p:nvPr/>
        </p:nvSpPr>
        <p:spPr>
          <a:xfrm>
            <a:off x="10140181" y="626437"/>
            <a:ext cx="574196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7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추가</a:t>
            </a:r>
            <a:r>
              <a:rPr lang="en-US" altLang="ko-KR" sz="7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7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필요 </a:t>
            </a:r>
            <a:r>
              <a:rPr lang="en-US" altLang="ko-KR" sz="7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</a:t>
            </a:r>
            <a:endParaRPr lang="ko-KR" altLang="en-US" sz="7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4BBF95F-B62F-74AF-176A-03527AE90D09}"/>
              </a:ext>
            </a:extLst>
          </p:cNvPr>
          <p:cNvSpPr txBox="1"/>
          <p:nvPr/>
        </p:nvSpPr>
        <p:spPr>
          <a:xfrm>
            <a:off x="10140180" y="872496"/>
            <a:ext cx="574196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7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변경 필요 </a:t>
            </a:r>
            <a:r>
              <a:rPr lang="en-US" altLang="ko-KR" sz="7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</a:t>
            </a:r>
            <a:endParaRPr lang="ko-KR" altLang="en-US" sz="7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5" name="사각형: 둥근 모서리 44">
            <a:extLst>
              <a:ext uri="{FF2B5EF4-FFF2-40B4-BE49-F238E27FC236}">
                <a16:creationId xmlns:a16="http://schemas.microsoft.com/office/drawing/2014/main" id="{0C0CBF28-F2B4-E62F-0D4D-5C9C87E1B22F}"/>
              </a:ext>
            </a:extLst>
          </p:cNvPr>
          <p:cNvSpPr/>
          <p:nvPr/>
        </p:nvSpPr>
        <p:spPr>
          <a:xfrm>
            <a:off x="10714377" y="861422"/>
            <a:ext cx="1106148" cy="207132"/>
          </a:xfrm>
          <a:prstGeom prst="round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9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62" name="사각형: 둥근 모서리 61">
            <a:extLst>
              <a:ext uri="{FF2B5EF4-FFF2-40B4-BE49-F238E27FC236}">
                <a16:creationId xmlns:a16="http://schemas.microsoft.com/office/drawing/2014/main" id="{7A454CB0-D6E7-D54A-6EB8-6FFD598DA8A2}"/>
              </a:ext>
            </a:extLst>
          </p:cNvPr>
          <p:cNvSpPr/>
          <p:nvPr/>
        </p:nvSpPr>
        <p:spPr>
          <a:xfrm>
            <a:off x="373188" y="976272"/>
            <a:ext cx="2142056" cy="267866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Appliance Finder</a:t>
            </a:r>
            <a:endParaRPr lang="ko-KR" altLang="en-US" dirty="0"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pic>
        <p:nvPicPr>
          <p:cNvPr id="70" name="그림 69">
            <a:extLst>
              <a:ext uri="{FF2B5EF4-FFF2-40B4-BE49-F238E27FC236}">
                <a16:creationId xmlns:a16="http://schemas.microsoft.com/office/drawing/2014/main" id="{B61FDB59-248B-9772-F7AC-74599A46612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188" y="1305241"/>
            <a:ext cx="4743240" cy="3685244"/>
          </a:xfrm>
          <a:prstGeom prst="rect">
            <a:avLst/>
          </a:prstGeom>
        </p:spPr>
      </p:pic>
      <p:sp>
        <p:nvSpPr>
          <p:cNvPr id="41" name="사각형: 둥근 모서리 40">
            <a:extLst>
              <a:ext uri="{FF2B5EF4-FFF2-40B4-BE49-F238E27FC236}">
                <a16:creationId xmlns:a16="http://schemas.microsoft.com/office/drawing/2014/main" id="{B22C393E-62C6-D9BF-39E5-4464555965CB}"/>
              </a:ext>
            </a:extLst>
          </p:cNvPr>
          <p:cNvSpPr/>
          <p:nvPr/>
        </p:nvSpPr>
        <p:spPr>
          <a:xfrm>
            <a:off x="1488795" y="3633733"/>
            <a:ext cx="1327399" cy="618845"/>
          </a:xfrm>
          <a:prstGeom prst="round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400L~500L</a:t>
            </a:r>
          </a:p>
        </p:txBody>
      </p:sp>
      <p:sp>
        <p:nvSpPr>
          <p:cNvPr id="47" name="사각형: 둥근 모서리 46">
            <a:extLst>
              <a:ext uri="{FF2B5EF4-FFF2-40B4-BE49-F238E27FC236}">
                <a16:creationId xmlns:a16="http://schemas.microsoft.com/office/drawing/2014/main" id="{59CDAA8C-3A01-8FC3-DE44-BDFFC766FCD7}"/>
              </a:ext>
            </a:extLst>
          </p:cNvPr>
          <p:cNvSpPr/>
          <p:nvPr/>
        </p:nvSpPr>
        <p:spPr>
          <a:xfrm>
            <a:off x="127942" y="3633733"/>
            <a:ext cx="1327399" cy="643071"/>
          </a:xfrm>
          <a:prstGeom prst="round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Under 400L</a:t>
            </a:r>
          </a:p>
        </p:txBody>
      </p:sp>
      <p:sp>
        <p:nvSpPr>
          <p:cNvPr id="48" name="사각형: 둥근 모서리 47">
            <a:extLst>
              <a:ext uri="{FF2B5EF4-FFF2-40B4-BE49-F238E27FC236}">
                <a16:creationId xmlns:a16="http://schemas.microsoft.com/office/drawing/2014/main" id="{E41C4A81-8453-9FFB-F6EB-40E41573C15E}"/>
              </a:ext>
            </a:extLst>
          </p:cNvPr>
          <p:cNvSpPr/>
          <p:nvPr/>
        </p:nvSpPr>
        <p:spPr>
          <a:xfrm>
            <a:off x="2839072" y="3607616"/>
            <a:ext cx="1327399" cy="643071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500L~600L</a:t>
            </a:r>
          </a:p>
        </p:txBody>
      </p:sp>
      <p:sp>
        <p:nvSpPr>
          <p:cNvPr id="49" name="사각형: 둥근 모서리 48">
            <a:extLst>
              <a:ext uri="{FF2B5EF4-FFF2-40B4-BE49-F238E27FC236}">
                <a16:creationId xmlns:a16="http://schemas.microsoft.com/office/drawing/2014/main" id="{9CB21417-AA54-2DC6-D7A7-D5A12E3065CD}"/>
              </a:ext>
            </a:extLst>
          </p:cNvPr>
          <p:cNvSpPr/>
          <p:nvPr/>
        </p:nvSpPr>
        <p:spPr>
          <a:xfrm>
            <a:off x="4199925" y="3587701"/>
            <a:ext cx="1327399" cy="643071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600L or more</a:t>
            </a:r>
          </a:p>
        </p:txBody>
      </p:sp>
      <p:sp>
        <p:nvSpPr>
          <p:cNvPr id="77" name="타원 76">
            <a:extLst>
              <a:ext uri="{FF2B5EF4-FFF2-40B4-BE49-F238E27FC236}">
                <a16:creationId xmlns:a16="http://schemas.microsoft.com/office/drawing/2014/main" id="{7039EE3C-A0FC-F313-32D8-91570D4B1E62}"/>
              </a:ext>
            </a:extLst>
          </p:cNvPr>
          <p:cNvSpPr/>
          <p:nvPr/>
        </p:nvSpPr>
        <p:spPr>
          <a:xfrm>
            <a:off x="148232" y="3867158"/>
            <a:ext cx="208229" cy="208229"/>
          </a:xfrm>
          <a:prstGeom prst="ellipse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78" name="타원 77">
            <a:extLst>
              <a:ext uri="{FF2B5EF4-FFF2-40B4-BE49-F238E27FC236}">
                <a16:creationId xmlns:a16="http://schemas.microsoft.com/office/drawing/2014/main" id="{A3762AF7-0480-C216-97FE-8FADA460D208}"/>
              </a:ext>
            </a:extLst>
          </p:cNvPr>
          <p:cNvSpPr/>
          <p:nvPr/>
        </p:nvSpPr>
        <p:spPr>
          <a:xfrm>
            <a:off x="1494902" y="3851637"/>
            <a:ext cx="208229" cy="208229"/>
          </a:xfrm>
          <a:prstGeom prst="ellipse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73BE57DD-9E10-1A5A-E047-111E68F17A1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2749" y="3750198"/>
            <a:ext cx="403139" cy="393539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0AFB2B7F-5DF9-F113-5B54-4FB986D0CC1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00536" y="3784922"/>
            <a:ext cx="370390" cy="361570"/>
          </a:xfrm>
          <a:prstGeom prst="rect">
            <a:avLst/>
          </a:prstGeom>
        </p:spPr>
      </p:pic>
      <p:sp>
        <p:nvSpPr>
          <p:cNvPr id="11" name="직사각형 10">
            <a:extLst>
              <a:ext uri="{FF2B5EF4-FFF2-40B4-BE49-F238E27FC236}">
                <a16:creationId xmlns:a16="http://schemas.microsoft.com/office/drawing/2014/main" id="{04292F7C-77AF-06E9-4343-B272C3028F3A}"/>
              </a:ext>
            </a:extLst>
          </p:cNvPr>
          <p:cNvSpPr/>
          <p:nvPr/>
        </p:nvSpPr>
        <p:spPr>
          <a:xfrm>
            <a:off x="2558005" y="3738622"/>
            <a:ext cx="636608" cy="4282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50" dirty="0"/>
              <a:t>사람</a:t>
            </a:r>
            <a:endParaRPr lang="en-US" altLang="ko-KR" sz="1050" dirty="0"/>
          </a:p>
          <a:p>
            <a:pPr algn="ctr"/>
            <a:r>
              <a:rPr lang="ko-KR" altLang="en-US" sz="1050" dirty="0"/>
              <a:t>세명</a:t>
            </a:r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01D631FF-D457-59B1-78DA-6CE694AE77E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39563" y="3715474"/>
            <a:ext cx="451414" cy="359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98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그룹 23">
            <a:extLst>
              <a:ext uri="{FF2B5EF4-FFF2-40B4-BE49-F238E27FC236}">
                <a16:creationId xmlns:a16="http://schemas.microsoft.com/office/drawing/2014/main" id="{5A59356C-B150-1B10-009E-3EB475EFAF52}"/>
              </a:ext>
            </a:extLst>
          </p:cNvPr>
          <p:cNvGrpSpPr/>
          <p:nvPr/>
        </p:nvGrpSpPr>
        <p:grpSpPr>
          <a:xfrm>
            <a:off x="6193947" y="1239044"/>
            <a:ext cx="5126093" cy="4843451"/>
            <a:chOff x="603375" y="1320067"/>
            <a:chExt cx="5126093" cy="4843451"/>
          </a:xfrm>
        </p:grpSpPr>
        <p:pic>
          <p:nvPicPr>
            <p:cNvPr id="15" name="그림 14">
              <a:extLst>
                <a:ext uri="{FF2B5EF4-FFF2-40B4-BE49-F238E27FC236}">
                  <a16:creationId xmlns:a16="http://schemas.microsoft.com/office/drawing/2014/main" id="{DA60EEC3-CDB1-A075-6FD0-6F3A31147E1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03375" y="1320067"/>
              <a:ext cx="5126093" cy="4843451"/>
            </a:xfrm>
            <a:prstGeom prst="rect">
              <a:avLst/>
            </a:prstGeom>
          </p:spPr>
        </p:pic>
        <p:pic>
          <p:nvPicPr>
            <p:cNvPr id="16" name="그림 15">
              <a:extLst>
                <a:ext uri="{FF2B5EF4-FFF2-40B4-BE49-F238E27FC236}">
                  <a16:creationId xmlns:a16="http://schemas.microsoft.com/office/drawing/2014/main" id="{D6CF9D3A-42A9-5040-0163-53A28209C32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615575" y="2745348"/>
              <a:ext cx="671635" cy="1444687"/>
            </a:xfrm>
            <a:prstGeom prst="rect">
              <a:avLst/>
            </a:prstGeom>
          </p:spPr>
        </p:pic>
      </p:grpSp>
      <p:sp>
        <p:nvSpPr>
          <p:cNvPr id="2" name="직사각형 1">
            <a:extLst>
              <a:ext uri="{FF2B5EF4-FFF2-40B4-BE49-F238E27FC236}">
                <a16:creationId xmlns:a16="http://schemas.microsoft.com/office/drawing/2014/main" id="{D6CECAE0-FFF3-E938-18C5-1978CF01C4E2}"/>
              </a:ext>
            </a:extLst>
          </p:cNvPr>
          <p:cNvSpPr/>
          <p:nvPr/>
        </p:nvSpPr>
        <p:spPr>
          <a:xfrm>
            <a:off x="0" y="0"/>
            <a:ext cx="12192000" cy="4915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F974D0E-5C12-1056-9026-0B45B7454089}"/>
              </a:ext>
            </a:extLst>
          </p:cNvPr>
          <p:cNvSpPr txBox="1"/>
          <p:nvPr/>
        </p:nvSpPr>
        <p:spPr>
          <a:xfrm>
            <a:off x="0" y="61102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 err="1">
                <a:solidFill>
                  <a:schemeClr val="bg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Colour</a:t>
            </a:r>
            <a:endParaRPr lang="ko-KR" altLang="en-US" dirty="0">
              <a:solidFill>
                <a:schemeClr val="bg1"/>
              </a:solidFill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pic>
        <p:nvPicPr>
          <p:cNvPr id="18" name="그림 17">
            <a:extLst>
              <a:ext uri="{FF2B5EF4-FFF2-40B4-BE49-F238E27FC236}">
                <a16:creationId xmlns:a16="http://schemas.microsoft.com/office/drawing/2014/main" id="{6782DC41-4612-459A-EE8E-B00C2DADC2F5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3977" y="1794917"/>
            <a:ext cx="5552006" cy="3646544"/>
          </a:xfrm>
          <a:prstGeom prst="rect">
            <a:avLst/>
          </a:prstGeom>
        </p:spPr>
      </p:pic>
      <p:sp>
        <p:nvSpPr>
          <p:cNvPr id="19" name="사각형: 둥근 모서리 18">
            <a:extLst>
              <a:ext uri="{FF2B5EF4-FFF2-40B4-BE49-F238E27FC236}">
                <a16:creationId xmlns:a16="http://schemas.microsoft.com/office/drawing/2014/main" id="{33AF3CF0-7031-758D-D8F5-935EE0FC01FD}"/>
              </a:ext>
            </a:extLst>
          </p:cNvPr>
          <p:cNvSpPr/>
          <p:nvPr/>
        </p:nvSpPr>
        <p:spPr>
          <a:xfrm>
            <a:off x="254428" y="1462408"/>
            <a:ext cx="2142056" cy="267866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Appliance Finder</a:t>
            </a:r>
            <a:endParaRPr lang="ko-KR" altLang="en-US" dirty="0"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sp>
        <p:nvSpPr>
          <p:cNvPr id="20" name="사각형: 둥근 모서리 19">
            <a:extLst>
              <a:ext uri="{FF2B5EF4-FFF2-40B4-BE49-F238E27FC236}">
                <a16:creationId xmlns:a16="http://schemas.microsoft.com/office/drawing/2014/main" id="{10417A3C-4EED-C108-8BAB-064A1D7B6A40}"/>
              </a:ext>
            </a:extLst>
          </p:cNvPr>
          <p:cNvSpPr/>
          <p:nvPr/>
        </p:nvSpPr>
        <p:spPr>
          <a:xfrm>
            <a:off x="10714377" y="620713"/>
            <a:ext cx="1106148" cy="207132"/>
          </a:xfrm>
          <a:prstGeom prst="round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9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95EB00A-2B40-8F0B-E57B-A666061A8E02}"/>
              </a:ext>
            </a:extLst>
          </p:cNvPr>
          <p:cNvSpPr txBox="1"/>
          <p:nvPr/>
        </p:nvSpPr>
        <p:spPr>
          <a:xfrm>
            <a:off x="10140181" y="626437"/>
            <a:ext cx="574196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7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추가</a:t>
            </a:r>
            <a:r>
              <a:rPr lang="en-US" altLang="ko-KR" sz="7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7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필요 </a:t>
            </a:r>
            <a:r>
              <a:rPr lang="en-US" altLang="ko-KR" sz="7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</a:t>
            </a:r>
            <a:endParaRPr lang="ko-KR" altLang="en-US" sz="7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4AFFCB5-427C-EDA4-69F1-55E46B25352A}"/>
              </a:ext>
            </a:extLst>
          </p:cNvPr>
          <p:cNvSpPr txBox="1"/>
          <p:nvPr/>
        </p:nvSpPr>
        <p:spPr>
          <a:xfrm>
            <a:off x="10140180" y="872496"/>
            <a:ext cx="574196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7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변경 필요 </a:t>
            </a:r>
            <a:r>
              <a:rPr lang="en-US" altLang="ko-KR" sz="7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</a:t>
            </a:r>
            <a:endParaRPr lang="ko-KR" altLang="en-US" sz="7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3" name="사각형: 둥근 모서리 22">
            <a:extLst>
              <a:ext uri="{FF2B5EF4-FFF2-40B4-BE49-F238E27FC236}">
                <a16:creationId xmlns:a16="http://schemas.microsoft.com/office/drawing/2014/main" id="{47C4E902-A233-14D4-2703-1CAC5AEE3430}"/>
              </a:ext>
            </a:extLst>
          </p:cNvPr>
          <p:cNvSpPr/>
          <p:nvPr/>
        </p:nvSpPr>
        <p:spPr>
          <a:xfrm>
            <a:off x="10714377" y="861422"/>
            <a:ext cx="1106148" cy="207132"/>
          </a:xfrm>
          <a:prstGeom prst="round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9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6" name="사각형: 둥근 모서리 25">
            <a:extLst>
              <a:ext uri="{FF2B5EF4-FFF2-40B4-BE49-F238E27FC236}">
                <a16:creationId xmlns:a16="http://schemas.microsoft.com/office/drawing/2014/main" id="{1F0F269E-FC95-2EE6-E26C-9B4A2826D7F9}"/>
              </a:ext>
            </a:extLst>
          </p:cNvPr>
          <p:cNvSpPr/>
          <p:nvPr/>
        </p:nvSpPr>
        <p:spPr>
          <a:xfrm>
            <a:off x="4381369" y="4957234"/>
            <a:ext cx="1223292" cy="323426"/>
          </a:xfrm>
          <a:prstGeom prst="round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Beige</a:t>
            </a:r>
            <a:endParaRPr lang="ko-KR" altLang="en-US" sz="9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7" name="사각형: 둥근 모서리 26">
            <a:extLst>
              <a:ext uri="{FF2B5EF4-FFF2-40B4-BE49-F238E27FC236}">
                <a16:creationId xmlns:a16="http://schemas.microsoft.com/office/drawing/2014/main" id="{57BE7927-0EC6-107D-EE86-0ED99AF01C08}"/>
              </a:ext>
            </a:extLst>
          </p:cNvPr>
          <p:cNvSpPr/>
          <p:nvPr/>
        </p:nvSpPr>
        <p:spPr>
          <a:xfrm>
            <a:off x="1696027" y="4957234"/>
            <a:ext cx="1223292" cy="323426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tainless Steel</a:t>
            </a:r>
            <a:endParaRPr lang="ko-KR" altLang="en-US" sz="9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0" name="타원 39">
            <a:extLst>
              <a:ext uri="{FF2B5EF4-FFF2-40B4-BE49-F238E27FC236}">
                <a16:creationId xmlns:a16="http://schemas.microsoft.com/office/drawing/2014/main" id="{FF8A7C01-1218-4B54-1DBF-959D4E7F0D25}"/>
              </a:ext>
            </a:extLst>
          </p:cNvPr>
          <p:cNvSpPr/>
          <p:nvPr/>
        </p:nvSpPr>
        <p:spPr>
          <a:xfrm>
            <a:off x="484221" y="5019064"/>
            <a:ext cx="208229" cy="203102"/>
          </a:xfrm>
          <a:prstGeom prst="ellipse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</a:t>
            </a:r>
            <a:endParaRPr lang="ko-KR" altLang="en-US" sz="12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1" name="타원 40">
            <a:extLst>
              <a:ext uri="{FF2B5EF4-FFF2-40B4-BE49-F238E27FC236}">
                <a16:creationId xmlns:a16="http://schemas.microsoft.com/office/drawing/2014/main" id="{C673031F-F7C6-5A7B-6471-953AD8782A9D}"/>
              </a:ext>
            </a:extLst>
          </p:cNvPr>
          <p:cNvSpPr/>
          <p:nvPr/>
        </p:nvSpPr>
        <p:spPr>
          <a:xfrm>
            <a:off x="1738583" y="5012249"/>
            <a:ext cx="208229" cy="203102"/>
          </a:xfrm>
          <a:prstGeom prst="ellipse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</a:t>
            </a:r>
            <a:endParaRPr lang="ko-KR" altLang="en-US" sz="12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2" name="타원 41">
            <a:extLst>
              <a:ext uri="{FF2B5EF4-FFF2-40B4-BE49-F238E27FC236}">
                <a16:creationId xmlns:a16="http://schemas.microsoft.com/office/drawing/2014/main" id="{C13575BA-F062-C0DA-90EE-0BEB1A11F010}"/>
              </a:ext>
            </a:extLst>
          </p:cNvPr>
          <p:cNvSpPr/>
          <p:nvPr/>
        </p:nvSpPr>
        <p:spPr>
          <a:xfrm>
            <a:off x="3099009" y="5019939"/>
            <a:ext cx="208229" cy="203102"/>
          </a:xfrm>
          <a:prstGeom prst="ellipse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</a:t>
            </a:r>
            <a:endParaRPr lang="ko-KR" altLang="en-US" sz="12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3" name="타원 42">
            <a:extLst>
              <a:ext uri="{FF2B5EF4-FFF2-40B4-BE49-F238E27FC236}">
                <a16:creationId xmlns:a16="http://schemas.microsoft.com/office/drawing/2014/main" id="{2CE90A4F-FD69-E95D-A14F-FB2CCE4B31CA}"/>
              </a:ext>
            </a:extLst>
          </p:cNvPr>
          <p:cNvSpPr/>
          <p:nvPr/>
        </p:nvSpPr>
        <p:spPr>
          <a:xfrm>
            <a:off x="4427356" y="5007543"/>
            <a:ext cx="208229" cy="203102"/>
          </a:xfrm>
          <a:prstGeom prst="ellipse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4</a:t>
            </a:r>
            <a:endParaRPr lang="ko-KR" altLang="en-US" sz="12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0E47F1DF-273D-AFD7-93D0-B3F2B04DEA1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75899" y="2615878"/>
            <a:ext cx="694481" cy="1543768"/>
          </a:xfrm>
          <a:prstGeom prst="rect">
            <a:avLst/>
          </a:prstGeom>
        </p:spPr>
      </p:pic>
      <p:sp>
        <p:nvSpPr>
          <p:cNvPr id="9" name="직사각형 8">
            <a:extLst>
              <a:ext uri="{FF2B5EF4-FFF2-40B4-BE49-F238E27FC236}">
                <a16:creationId xmlns:a16="http://schemas.microsoft.com/office/drawing/2014/main" id="{9DBD4C01-0413-1926-58A7-A6AA02E73A25}"/>
              </a:ext>
            </a:extLst>
          </p:cNvPr>
          <p:cNvSpPr/>
          <p:nvPr/>
        </p:nvSpPr>
        <p:spPr>
          <a:xfrm>
            <a:off x="4120587" y="5359078"/>
            <a:ext cx="1724629" cy="2083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err="1"/>
              <a:t>탑프리저에만</a:t>
            </a:r>
            <a:r>
              <a:rPr lang="ko-KR" altLang="en-US" sz="1400" dirty="0"/>
              <a:t> 해당</a:t>
            </a: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EB1A6387-4DBA-5C84-90D3-678F035CEEC7}"/>
              </a:ext>
            </a:extLst>
          </p:cNvPr>
          <p:cNvSpPr/>
          <p:nvPr/>
        </p:nvSpPr>
        <p:spPr>
          <a:xfrm>
            <a:off x="9271321" y="3078865"/>
            <a:ext cx="1979271" cy="2662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/>
              <a:t>어울리는 소품 배치</a:t>
            </a:r>
            <a:endParaRPr lang="ko-KR" altLang="en-US" sz="1400" dirty="0"/>
          </a:p>
        </p:txBody>
      </p:sp>
    </p:spTree>
    <p:extLst>
      <p:ext uri="{BB962C8B-B14F-4D97-AF65-F5344CB8AC3E}">
        <p14:creationId xmlns:p14="http://schemas.microsoft.com/office/powerpoint/2010/main" val="20922153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15</TotalTime>
  <Words>344</Words>
  <Application>Microsoft Office PowerPoint</Application>
  <PresentationFormat>와이드스크린</PresentationFormat>
  <Paragraphs>72</Paragraphs>
  <Slides>7</Slides>
  <Notes>1</Notes>
  <HiddenSlides>0</HiddenSlides>
  <MMClips>0</MMClips>
  <ScaleCrop>false</ScaleCrop>
  <HeadingPairs>
    <vt:vector size="8" baseType="variant">
      <vt:variant>
        <vt:lpstr>사용한 글꼴</vt:lpstr>
      </vt:variant>
      <vt:variant>
        <vt:i4>5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7</vt:i4>
      </vt:variant>
    </vt:vector>
  </HeadingPairs>
  <TitlesOfParts>
    <vt:vector size="14" baseType="lpstr">
      <vt:lpstr>LG스마트체 SemiBold</vt:lpstr>
      <vt:lpstr>Arial</vt:lpstr>
      <vt:lpstr>Arial Narrow</vt:lpstr>
      <vt:lpstr>LG스마트체 Regular</vt:lpstr>
      <vt:lpstr>맑은 고딕</vt:lpstr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양승원(Theo)</dc:creator>
  <cp:lastModifiedBy>유세희(Sammy)</cp:lastModifiedBy>
  <cp:revision>26</cp:revision>
  <dcterms:created xsi:type="dcterms:W3CDTF">2022-10-18T04:16:38Z</dcterms:created>
  <dcterms:modified xsi:type="dcterms:W3CDTF">2022-11-01T11:42:41Z</dcterms:modified>
</cp:coreProperties>
</file>